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9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1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3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15" r:id="rId7"/>
    <p:sldMasterId id="2147483825" r:id="rId8"/>
    <p:sldMasterId id="2147483847" r:id="rId9"/>
    <p:sldMasterId id="2147483857" r:id="rId10"/>
  </p:sldMasterIdLst>
  <p:notesMasterIdLst>
    <p:notesMasterId r:id="rId52"/>
  </p:notesMasterIdLst>
  <p:sldIdLst>
    <p:sldId id="1751" r:id="rId11"/>
    <p:sldId id="1801" r:id="rId12"/>
    <p:sldId id="2119" r:id="rId13"/>
    <p:sldId id="1768" r:id="rId14"/>
    <p:sldId id="1820" r:id="rId15"/>
    <p:sldId id="1882" r:id="rId16"/>
    <p:sldId id="1833" r:id="rId17"/>
    <p:sldId id="2120" r:id="rId18"/>
    <p:sldId id="1822" r:id="rId19"/>
    <p:sldId id="2139" r:id="rId20"/>
    <p:sldId id="2140" r:id="rId21"/>
    <p:sldId id="1843" r:id="rId22"/>
    <p:sldId id="2121" r:id="rId23"/>
    <p:sldId id="2122" r:id="rId24"/>
    <p:sldId id="2123" r:id="rId25"/>
    <p:sldId id="2124" r:id="rId26"/>
    <p:sldId id="2125" r:id="rId27"/>
    <p:sldId id="2126" r:id="rId28"/>
    <p:sldId id="1727" r:id="rId29"/>
    <p:sldId id="1828" r:id="rId30"/>
    <p:sldId id="1914" r:id="rId31"/>
    <p:sldId id="1883" r:id="rId32"/>
    <p:sldId id="1917" r:id="rId33"/>
    <p:sldId id="1406" r:id="rId34"/>
    <p:sldId id="2127" r:id="rId35"/>
    <p:sldId id="2128" r:id="rId36"/>
    <p:sldId id="2129" r:id="rId37"/>
    <p:sldId id="1835" r:id="rId38"/>
    <p:sldId id="1898" r:id="rId39"/>
    <p:sldId id="1899" r:id="rId40"/>
    <p:sldId id="2130" r:id="rId41"/>
    <p:sldId id="1894" r:id="rId42"/>
    <p:sldId id="2131" r:id="rId43"/>
    <p:sldId id="2132" r:id="rId44"/>
    <p:sldId id="2133" r:id="rId45"/>
    <p:sldId id="2134" r:id="rId46"/>
    <p:sldId id="2138" r:id="rId47"/>
    <p:sldId id="2135" r:id="rId48"/>
    <p:sldId id="2136" r:id="rId49"/>
    <p:sldId id="2137" r:id="rId50"/>
    <p:sldId id="1776" r:id="rId51"/>
  </p:sldIdLst>
  <p:sldSz cx="12192000" cy="6858000"/>
  <p:notesSz cx="6858000" cy="9144000"/>
  <p:embeddedFontLst>
    <p:embeddedFont>
      <p:font typeface="Calibri Light" panose="020F0302020204030204" pitchFamily="34" charset="0"/>
      <p:regular r:id="rId53"/>
      <p:italic r:id="rId54"/>
    </p:embeddedFont>
    <p:embeddedFont>
      <p:font typeface="Calibri" panose="020F0502020204030204" pitchFamily="34" charset="0"/>
      <p:regular r:id="rId55"/>
      <p:bold r:id="rId56"/>
      <p:italic r:id="rId57"/>
      <p:boldItalic r:id="rId58"/>
    </p:embeddedFont>
  </p:embeddedFontLst>
  <p:custDataLst>
    <p:tags r:id="rId5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0000"/>
    <a:srgbClr val="666363"/>
    <a:srgbClr val="00FF00"/>
    <a:srgbClr val="B0C2E5"/>
    <a:srgbClr val="4CB9FC"/>
    <a:srgbClr val="D0CCCE"/>
    <a:srgbClr val="D31145"/>
    <a:srgbClr val="993A3A"/>
    <a:srgbClr val="3059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0" autoAdjust="0"/>
    <p:restoredTop sz="96265" autoAdjust="0"/>
  </p:normalViewPr>
  <p:slideViewPr>
    <p:cSldViewPr snapToGrid="0">
      <p:cViewPr varScale="1">
        <p:scale>
          <a:sx n="103" d="100"/>
          <a:sy n="103" d="100"/>
        </p:scale>
        <p:origin x="504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34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font" Target="fonts/font3.fntdata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54" Type="http://schemas.openxmlformats.org/officeDocument/2006/relationships/font" Target="fonts/font2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font" Target="fonts/font1.fntdata"/><Relationship Id="rId58" Type="http://schemas.openxmlformats.org/officeDocument/2006/relationships/font" Target="fonts/font6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font" Target="fonts/font5.fntdata"/><Relationship Id="rId61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notesMaster" Target="notesMasters/notesMaster1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font" Target="fonts/font4.fntdata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2394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21</c:v>
                </c:pt>
                <c:pt idx="1">
                  <c:v>44222</c:v>
                </c:pt>
                <c:pt idx="2">
                  <c:v>44223</c:v>
                </c:pt>
                <c:pt idx="3">
                  <c:v>44224</c:v>
                </c:pt>
                <c:pt idx="4">
                  <c:v>44225</c:v>
                </c:pt>
                <c:pt idx="5">
                  <c:v>44226</c:v>
                </c:pt>
                <c:pt idx="6">
                  <c:v>44227</c:v>
                </c:pt>
                <c:pt idx="7">
                  <c:v>44228</c:v>
                </c:pt>
                <c:pt idx="8">
                  <c:v>44229</c:v>
                </c:pt>
                <c:pt idx="9">
                  <c:v>44230</c:v>
                </c:pt>
                <c:pt idx="10">
                  <c:v>44231</c:v>
                </c:pt>
                <c:pt idx="11">
                  <c:v>44232</c:v>
                </c:pt>
                <c:pt idx="12">
                  <c:v>44233</c:v>
                </c:pt>
                <c:pt idx="13">
                  <c:v>44234</c:v>
                </c:pt>
                <c:pt idx="14">
                  <c:v>44235</c:v>
                </c:pt>
                <c:pt idx="15">
                  <c:v>44236</c:v>
                </c:pt>
                <c:pt idx="16">
                  <c:v>44237</c:v>
                </c:pt>
                <c:pt idx="17">
                  <c:v>44238</c:v>
                </c:pt>
                <c:pt idx="18">
                  <c:v>44239</c:v>
                </c:pt>
                <c:pt idx="19">
                  <c:v>44240</c:v>
                </c:pt>
                <c:pt idx="20">
                  <c:v>44241</c:v>
                </c:pt>
                <c:pt idx="21">
                  <c:v>44242</c:v>
                </c:pt>
                <c:pt idx="22">
                  <c:v>44243</c:v>
                </c:pt>
                <c:pt idx="23">
                  <c:v>44244</c:v>
                </c:pt>
                <c:pt idx="24">
                  <c:v>44245</c:v>
                </c:pt>
                <c:pt idx="25">
                  <c:v>44246</c:v>
                </c:pt>
                <c:pt idx="26">
                  <c:v>44247</c:v>
                </c:pt>
                <c:pt idx="27">
                  <c:v>44248</c:v>
                </c:pt>
                <c:pt idx="28">
                  <c:v>44249</c:v>
                </c:pt>
                <c:pt idx="29">
                  <c:v>44250</c:v>
                </c:pt>
                <c:pt idx="30">
                  <c:v>44251</c:v>
                </c:pt>
                <c:pt idx="31">
                  <c:v>44252</c:v>
                </c:pt>
                <c:pt idx="32">
                  <c:v>44253</c:v>
                </c:pt>
                <c:pt idx="33">
                  <c:v>44254</c:v>
                </c:pt>
                <c:pt idx="34">
                  <c:v>44255</c:v>
                </c:pt>
                <c:pt idx="35">
                  <c:v>44256</c:v>
                </c:pt>
                <c:pt idx="36">
                  <c:v>44257</c:v>
                </c:pt>
                <c:pt idx="37">
                  <c:v>44258</c:v>
                </c:pt>
                <c:pt idx="38">
                  <c:v>44259</c:v>
                </c:pt>
                <c:pt idx="39">
                  <c:v>44260</c:v>
                </c:pt>
                <c:pt idx="40">
                  <c:v>44261</c:v>
                </c:pt>
                <c:pt idx="41">
                  <c:v>44262</c:v>
                </c:pt>
                <c:pt idx="42">
                  <c:v>44263</c:v>
                </c:pt>
                <c:pt idx="43">
                  <c:v>44264</c:v>
                </c:pt>
                <c:pt idx="44">
                  <c:v>44265</c:v>
                </c:pt>
                <c:pt idx="45">
                  <c:v>44266</c:v>
                </c:pt>
                <c:pt idx="46">
                  <c:v>44267</c:v>
                </c:pt>
                <c:pt idx="47">
                  <c:v>44268</c:v>
                </c:pt>
                <c:pt idx="48">
                  <c:v>44269</c:v>
                </c:pt>
                <c:pt idx="49">
                  <c:v>44270</c:v>
                </c:pt>
                <c:pt idx="50">
                  <c:v>44271</c:v>
                </c:pt>
                <c:pt idx="51">
                  <c:v>44272</c:v>
                </c:pt>
                <c:pt idx="52">
                  <c:v>44273</c:v>
                </c:pt>
                <c:pt idx="53">
                  <c:v>44274</c:v>
                </c:pt>
                <c:pt idx="54">
                  <c:v>44275</c:v>
                </c:pt>
                <c:pt idx="55">
                  <c:v>44276</c:v>
                </c:pt>
                <c:pt idx="56">
                  <c:v>44277</c:v>
                </c:pt>
                <c:pt idx="57">
                  <c:v>44278</c:v>
                </c:pt>
                <c:pt idx="58">
                  <c:v>44279</c:v>
                </c:pt>
                <c:pt idx="59">
                  <c:v>44280</c:v>
                </c:pt>
                <c:pt idx="60">
                  <c:v>44281</c:v>
                </c:pt>
                <c:pt idx="61">
                  <c:v>44282</c:v>
                </c:pt>
                <c:pt idx="62">
                  <c:v>44283</c:v>
                </c:pt>
                <c:pt idx="63">
                  <c:v>44284</c:v>
                </c:pt>
                <c:pt idx="64">
                  <c:v>44285</c:v>
                </c:pt>
                <c:pt idx="65">
                  <c:v>44286</c:v>
                </c:pt>
                <c:pt idx="66">
                  <c:v>44287</c:v>
                </c:pt>
                <c:pt idx="67">
                  <c:v>44288</c:v>
                </c:pt>
                <c:pt idx="68">
                  <c:v>44289</c:v>
                </c:pt>
                <c:pt idx="69">
                  <c:v>44290</c:v>
                </c:pt>
                <c:pt idx="70">
                  <c:v>44291</c:v>
                </c:pt>
                <c:pt idx="71">
                  <c:v>44292</c:v>
                </c:pt>
                <c:pt idx="72">
                  <c:v>44293</c:v>
                </c:pt>
                <c:pt idx="73">
                  <c:v>44294</c:v>
                </c:pt>
                <c:pt idx="74">
                  <c:v>44295</c:v>
                </c:pt>
                <c:pt idx="75">
                  <c:v>44296</c:v>
                </c:pt>
                <c:pt idx="76">
                  <c:v>44297</c:v>
                </c:pt>
                <c:pt idx="77">
                  <c:v>44298</c:v>
                </c:pt>
                <c:pt idx="78">
                  <c:v>44299</c:v>
                </c:pt>
                <c:pt idx="79">
                  <c:v>44300</c:v>
                </c:pt>
                <c:pt idx="80">
                  <c:v>44301</c:v>
                </c:pt>
                <c:pt idx="81">
                  <c:v>44302</c:v>
                </c:pt>
                <c:pt idx="82">
                  <c:v>44303</c:v>
                </c:pt>
                <c:pt idx="83">
                  <c:v>44304</c:v>
                </c:pt>
                <c:pt idx="84">
                  <c:v>44305</c:v>
                </c:pt>
                <c:pt idx="85">
                  <c:v>44306</c:v>
                </c:pt>
                <c:pt idx="86">
                  <c:v>44307</c:v>
                </c:pt>
                <c:pt idx="87">
                  <c:v>44308</c:v>
                </c:pt>
                <c:pt idx="88">
                  <c:v>44309</c:v>
                </c:pt>
                <c:pt idx="89">
                  <c:v>44310</c:v>
                </c:pt>
                <c:pt idx="90">
                  <c:v>44311</c:v>
                </c:pt>
                <c:pt idx="91">
                  <c:v>44312</c:v>
                </c:pt>
                <c:pt idx="92">
                  <c:v>44313</c:v>
                </c:pt>
                <c:pt idx="93">
                  <c:v>44314</c:v>
                </c:pt>
                <c:pt idx="94">
                  <c:v>44315</c:v>
                </c:pt>
                <c:pt idx="95">
                  <c:v>44316</c:v>
                </c:pt>
                <c:pt idx="96">
                  <c:v>44317</c:v>
                </c:pt>
                <c:pt idx="97">
                  <c:v>44318</c:v>
                </c:pt>
                <c:pt idx="98">
                  <c:v>44319</c:v>
                </c:pt>
                <c:pt idx="99">
                  <c:v>44320</c:v>
                </c:pt>
                <c:pt idx="100">
                  <c:v>44321</c:v>
                </c:pt>
                <c:pt idx="101">
                  <c:v>44322</c:v>
                </c:pt>
                <c:pt idx="102">
                  <c:v>44323</c:v>
                </c:pt>
                <c:pt idx="103">
                  <c:v>44324</c:v>
                </c:pt>
                <c:pt idx="104">
                  <c:v>44325</c:v>
                </c:pt>
                <c:pt idx="105">
                  <c:v>44326</c:v>
                </c:pt>
                <c:pt idx="106">
                  <c:v>44327</c:v>
                </c:pt>
                <c:pt idx="107">
                  <c:v>44328</c:v>
                </c:pt>
                <c:pt idx="108">
                  <c:v>44329</c:v>
                </c:pt>
                <c:pt idx="109">
                  <c:v>44330</c:v>
                </c:pt>
                <c:pt idx="110">
                  <c:v>44331</c:v>
                </c:pt>
                <c:pt idx="111">
                  <c:v>44332</c:v>
                </c:pt>
                <c:pt idx="112">
                  <c:v>44333</c:v>
                </c:pt>
                <c:pt idx="113">
                  <c:v>44334</c:v>
                </c:pt>
                <c:pt idx="114">
                  <c:v>44335</c:v>
                </c:pt>
                <c:pt idx="115">
                  <c:v>44336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6974</c:v>
                </c:pt>
                <c:pt idx="1">
                  <c:v>9196</c:v>
                </c:pt>
                <c:pt idx="2">
                  <c:v>8504</c:v>
                </c:pt>
                <c:pt idx="3">
                  <c:v>8010</c:v>
                </c:pt>
                <c:pt idx="4">
                  <c:v>8053</c:v>
                </c:pt>
                <c:pt idx="5">
                  <c:v>4055</c:v>
                </c:pt>
                <c:pt idx="6">
                  <c:v>2573</c:v>
                </c:pt>
                <c:pt idx="7">
                  <c:v>7217</c:v>
                </c:pt>
                <c:pt idx="8">
                  <c:v>9149</c:v>
                </c:pt>
                <c:pt idx="9">
                  <c:v>9667</c:v>
                </c:pt>
                <c:pt idx="10">
                  <c:v>8108</c:v>
                </c:pt>
                <c:pt idx="11">
                  <c:v>8623</c:v>
                </c:pt>
                <c:pt idx="12">
                  <c:v>4820</c:v>
                </c:pt>
                <c:pt idx="13">
                  <c:v>2451</c:v>
                </c:pt>
                <c:pt idx="14">
                  <c:v>7777</c:v>
                </c:pt>
                <c:pt idx="15">
                  <c:v>10282</c:v>
                </c:pt>
                <c:pt idx="16">
                  <c:v>9539</c:v>
                </c:pt>
                <c:pt idx="17">
                  <c:v>9018</c:v>
                </c:pt>
                <c:pt idx="18">
                  <c:v>8830</c:v>
                </c:pt>
                <c:pt idx="19">
                  <c:v>5141</c:v>
                </c:pt>
                <c:pt idx="20">
                  <c:v>2880</c:v>
                </c:pt>
                <c:pt idx="21">
                  <c:v>8905</c:v>
                </c:pt>
                <c:pt idx="22">
                  <c:v>12608</c:v>
                </c:pt>
                <c:pt idx="23">
                  <c:v>10939</c:v>
                </c:pt>
                <c:pt idx="24">
                  <c:v>11704</c:v>
                </c:pt>
                <c:pt idx="25">
                  <c:v>11288</c:v>
                </c:pt>
                <c:pt idx="26">
                  <c:v>6775</c:v>
                </c:pt>
                <c:pt idx="27">
                  <c:v>4068</c:v>
                </c:pt>
                <c:pt idx="28">
                  <c:v>11410</c:v>
                </c:pt>
                <c:pt idx="29">
                  <c:v>15840</c:v>
                </c:pt>
                <c:pt idx="30">
                  <c:v>13796</c:v>
                </c:pt>
                <c:pt idx="31">
                  <c:v>14588</c:v>
                </c:pt>
                <c:pt idx="32">
                  <c:v>14775</c:v>
                </c:pt>
                <c:pt idx="33">
                  <c:v>7824</c:v>
                </c:pt>
                <c:pt idx="34">
                  <c:v>4587</c:v>
                </c:pt>
                <c:pt idx="35">
                  <c:v>12325</c:v>
                </c:pt>
                <c:pt idx="36">
                  <c:v>16779</c:v>
                </c:pt>
                <c:pt idx="37">
                  <c:v>15238</c:v>
                </c:pt>
                <c:pt idx="38">
                  <c:v>14649</c:v>
                </c:pt>
                <c:pt idx="39">
                  <c:v>13169</c:v>
                </c:pt>
                <c:pt idx="40">
                  <c:v>9130</c:v>
                </c:pt>
                <c:pt idx="41">
                  <c:v>3983</c:v>
                </c:pt>
                <c:pt idx="42">
                  <c:v>10653</c:v>
                </c:pt>
                <c:pt idx="43">
                  <c:v>15359</c:v>
                </c:pt>
                <c:pt idx="44">
                  <c:v>14537</c:v>
                </c:pt>
                <c:pt idx="45">
                  <c:v>11245</c:v>
                </c:pt>
                <c:pt idx="46">
                  <c:v>14961</c:v>
                </c:pt>
                <c:pt idx="47">
                  <c:v>6956</c:v>
                </c:pt>
                <c:pt idx="48">
                  <c:v>3332</c:v>
                </c:pt>
                <c:pt idx="49">
                  <c:v>10630</c:v>
                </c:pt>
                <c:pt idx="50">
                  <c:v>14028</c:v>
                </c:pt>
                <c:pt idx="51">
                  <c:v>12028</c:v>
                </c:pt>
                <c:pt idx="52">
                  <c:v>10660</c:v>
                </c:pt>
                <c:pt idx="53">
                  <c:v>9710</c:v>
                </c:pt>
                <c:pt idx="54">
                  <c:v>5466</c:v>
                </c:pt>
                <c:pt idx="55">
                  <c:v>2391</c:v>
                </c:pt>
                <c:pt idx="56">
                  <c:v>8239</c:v>
                </c:pt>
                <c:pt idx="57">
                  <c:v>10968</c:v>
                </c:pt>
                <c:pt idx="58">
                  <c:v>8848</c:v>
                </c:pt>
                <c:pt idx="59">
                  <c:v>7926</c:v>
                </c:pt>
                <c:pt idx="60">
                  <c:v>7712</c:v>
                </c:pt>
                <c:pt idx="61">
                  <c:v>3969</c:v>
                </c:pt>
                <c:pt idx="62">
                  <c:v>1744</c:v>
                </c:pt>
                <c:pt idx="63">
                  <c:v>6935</c:v>
                </c:pt>
                <c:pt idx="64">
                  <c:v>8630</c:v>
                </c:pt>
                <c:pt idx="65">
                  <c:v>7263</c:v>
                </c:pt>
                <c:pt idx="66">
                  <c:v>6245</c:v>
                </c:pt>
                <c:pt idx="67">
                  <c:v>3837</c:v>
                </c:pt>
                <c:pt idx="68">
                  <c:v>2160</c:v>
                </c:pt>
                <c:pt idx="69">
                  <c:v>1925</c:v>
                </c:pt>
                <c:pt idx="70">
                  <c:v>1419</c:v>
                </c:pt>
                <c:pt idx="71">
                  <c:v>5582</c:v>
                </c:pt>
                <c:pt idx="72">
                  <c:v>7052</c:v>
                </c:pt>
                <c:pt idx="73">
                  <c:v>5282</c:v>
                </c:pt>
                <c:pt idx="74">
                  <c:v>4818</c:v>
                </c:pt>
                <c:pt idx="75">
                  <c:v>2204</c:v>
                </c:pt>
                <c:pt idx="76">
                  <c:v>985</c:v>
                </c:pt>
                <c:pt idx="77">
                  <c:v>3868</c:v>
                </c:pt>
                <c:pt idx="78">
                  <c:v>5056</c:v>
                </c:pt>
                <c:pt idx="79">
                  <c:v>3715</c:v>
                </c:pt>
                <c:pt idx="80">
                  <c:v>3263</c:v>
                </c:pt>
                <c:pt idx="81">
                  <c:v>3216</c:v>
                </c:pt>
                <c:pt idx="82">
                  <c:v>1541</c:v>
                </c:pt>
                <c:pt idx="83">
                  <c:v>833</c:v>
                </c:pt>
                <c:pt idx="84">
                  <c:v>3341</c:v>
                </c:pt>
                <c:pt idx="85">
                  <c:v>3815</c:v>
                </c:pt>
                <c:pt idx="86">
                  <c:v>2951</c:v>
                </c:pt>
                <c:pt idx="87">
                  <c:v>2628</c:v>
                </c:pt>
                <c:pt idx="88">
                  <c:v>2601</c:v>
                </c:pt>
                <c:pt idx="89">
                  <c:v>1307</c:v>
                </c:pt>
                <c:pt idx="90">
                  <c:v>825</c:v>
                </c:pt>
                <c:pt idx="91">
                  <c:v>2579</c:v>
                </c:pt>
                <c:pt idx="92">
                  <c:v>3238</c:v>
                </c:pt>
                <c:pt idx="93">
                  <c:v>2487</c:v>
                </c:pt>
                <c:pt idx="94">
                  <c:v>2228</c:v>
                </c:pt>
                <c:pt idx="95">
                  <c:v>2166</c:v>
                </c:pt>
                <c:pt idx="96">
                  <c:v>1171</c:v>
                </c:pt>
                <c:pt idx="97">
                  <c:v>508</c:v>
                </c:pt>
                <c:pt idx="98">
                  <c:v>2217</c:v>
                </c:pt>
                <c:pt idx="99">
                  <c:v>2416</c:v>
                </c:pt>
                <c:pt idx="100">
                  <c:v>1873</c:v>
                </c:pt>
                <c:pt idx="101">
                  <c:v>1572</c:v>
                </c:pt>
                <c:pt idx="102">
                  <c:v>1638</c:v>
                </c:pt>
                <c:pt idx="103">
                  <c:v>724</c:v>
                </c:pt>
                <c:pt idx="104">
                  <c:v>384</c:v>
                </c:pt>
                <c:pt idx="105">
                  <c:v>1544</c:v>
                </c:pt>
                <c:pt idx="106">
                  <c:v>1690</c:v>
                </c:pt>
                <c:pt idx="107">
                  <c:v>1264</c:v>
                </c:pt>
                <c:pt idx="108">
                  <c:v>1223</c:v>
                </c:pt>
                <c:pt idx="109">
                  <c:v>1051</c:v>
                </c:pt>
                <c:pt idx="110">
                  <c:v>598</c:v>
                </c:pt>
                <c:pt idx="111">
                  <c:v>256</c:v>
                </c:pt>
                <c:pt idx="112">
                  <c:v>1131</c:v>
                </c:pt>
                <c:pt idx="113">
                  <c:v>1200</c:v>
                </c:pt>
                <c:pt idx="114">
                  <c:v>778</c:v>
                </c:pt>
                <c:pt idx="115">
                  <c:v>6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Jihomoravský kraj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2.503818636959998</c:v>
                </c:pt>
                <c:pt idx="1">
                  <c:v>41.887957470793999</c:v>
                </c:pt>
                <c:pt idx="2">
                  <c:v>39.002347910266003</c:v>
                </c:pt>
                <c:pt idx="3">
                  <c:v>37.270705859589</c:v>
                </c:pt>
                <c:pt idx="4">
                  <c:v>36.224397173325002</c:v>
                </c:pt>
                <c:pt idx="5">
                  <c:v>31.866135112412</c:v>
                </c:pt>
                <c:pt idx="6">
                  <c:v>31.089199073688</c:v>
                </c:pt>
                <c:pt idx="7">
                  <c:v>29.079282809999999</c:v>
                </c:pt>
                <c:pt idx="8">
                  <c:v>27.119869824624001</c:v>
                </c:pt>
                <c:pt idx="9">
                  <c:v>23.142127086616</c:v>
                </c:pt>
                <c:pt idx="10">
                  <c:v>22.389175370189999</c:v>
                </c:pt>
                <c:pt idx="11">
                  <c:v>21.197168118259999</c:v>
                </c:pt>
                <c:pt idx="12">
                  <c:v>15.565756013542</c:v>
                </c:pt>
                <c:pt idx="13">
                  <c:v>11.437846199094</c:v>
                </c:pt>
                <c:pt idx="14">
                  <c:v>11.250856599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Opava</c:v>
                </c:pt>
                <c:pt idx="1">
                  <c:v>Česká Lípa</c:v>
                </c:pt>
                <c:pt idx="2">
                  <c:v>Český Krumlov</c:v>
                </c:pt>
                <c:pt idx="3">
                  <c:v>Šumperk</c:v>
                </c:pt>
                <c:pt idx="4">
                  <c:v>Vyškov</c:v>
                </c:pt>
                <c:pt idx="5">
                  <c:v>Ostrava-město</c:v>
                </c:pt>
                <c:pt idx="6">
                  <c:v>České Budějovice</c:v>
                </c:pt>
                <c:pt idx="7">
                  <c:v>Uherské Hradiště</c:v>
                </c:pt>
                <c:pt idx="8">
                  <c:v>Děčín</c:v>
                </c:pt>
                <c:pt idx="9">
                  <c:v>Jihlava</c:v>
                </c:pt>
                <c:pt idx="10">
                  <c:v>Karviná</c:v>
                </c:pt>
                <c:pt idx="11">
                  <c:v>Zlín</c:v>
                </c:pt>
                <c:pt idx="12">
                  <c:v>Vsetín</c:v>
                </c:pt>
                <c:pt idx="13">
                  <c:v>Rychnov nad Kněžnou</c:v>
                </c:pt>
                <c:pt idx="14">
                  <c:v>Znojmo</c:v>
                </c:pt>
                <c:pt idx="15">
                  <c:v>Frýdek-Místek</c:v>
                </c:pt>
                <c:pt idx="16">
                  <c:v>Žďár nad Sázavou</c:v>
                </c:pt>
                <c:pt idx="17">
                  <c:v>Kroměříž</c:v>
                </c:pt>
                <c:pt idx="18">
                  <c:v>Brno-venkov</c:v>
                </c:pt>
                <c:pt idx="19">
                  <c:v>Pelhřimov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26.865289543</c:v>
                </c:pt>
                <c:pt idx="1">
                  <c:v>121.36157983650099</c:v>
                </c:pt>
                <c:pt idx="2">
                  <c:v>114.155251141552</c:v>
                </c:pt>
                <c:pt idx="3">
                  <c:v>107.52957063192299</c:v>
                </c:pt>
                <c:pt idx="4">
                  <c:v>100.28576050034999</c:v>
                </c:pt>
                <c:pt idx="5">
                  <c:v>97.377427345094006</c:v>
                </c:pt>
                <c:pt idx="6">
                  <c:v>94.098737550991004</c:v>
                </c:pt>
                <c:pt idx="7">
                  <c:v>91.788462896279</c:v>
                </c:pt>
                <c:pt idx="8">
                  <c:v>87.194139308206999</c:v>
                </c:pt>
                <c:pt idx="9">
                  <c:v>87.098817567566996</c:v>
                </c:pt>
                <c:pt idx="10">
                  <c:v>84.850831414577996</c:v>
                </c:pt>
                <c:pt idx="11">
                  <c:v>80.827253907084994</c:v>
                </c:pt>
                <c:pt idx="12">
                  <c:v>76.816823589107003</c:v>
                </c:pt>
                <c:pt idx="13">
                  <c:v>75.630569876343998</c:v>
                </c:pt>
                <c:pt idx="14">
                  <c:v>74.202109085830003</c:v>
                </c:pt>
                <c:pt idx="15">
                  <c:v>73.163798366162993</c:v>
                </c:pt>
                <c:pt idx="16">
                  <c:v>72.069933271720004</c:v>
                </c:pt>
                <c:pt idx="17">
                  <c:v>71.547135252703995</c:v>
                </c:pt>
                <c:pt idx="18">
                  <c:v>71.541498485263006</c:v>
                </c:pt>
                <c:pt idx="19">
                  <c:v>70.541370439016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Opava</c:v>
                </c:pt>
                <c:pt idx="1">
                  <c:v>Česká Lípa</c:v>
                </c:pt>
                <c:pt idx="2">
                  <c:v>Český Krumlov</c:v>
                </c:pt>
                <c:pt idx="3">
                  <c:v>Šumperk</c:v>
                </c:pt>
                <c:pt idx="4">
                  <c:v>Vyškov</c:v>
                </c:pt>
                <c:pt idx="5">
                  <c:v>Ostrava-město</c:v>
                </c:pt>
                <c:pt idx="6">
                  <c:v>České Budějovice</c:v>
                </c:pt>
                <c:pt idx="7">
                  <c:v>Uherské Hradiště</c:v>
                </c:pt>
                <c:pt idx="8">
                  <c:v>Děčín</c:v>
                </c:pt>
                <c:pt idx="9">
                  <c:v>Jihlava</c:v>
                </c:pt>
                <c:pt idx="10">
                  <c:v>Karviná</c:v>
                </c:pt>
                <c:pt idx="11">
                  <c:v>Zlín</c:v>
                </c:pt>
                <c:pt idx="12">
                  <c:v>Vsetín</c:v>
                </c:pt>
                <c:pt idx="13">
                  <c:v>Rychnov nad Kněžnou</c:v>
                </c:pt>
                <c:pt idx="14">
                  <c:v>Znojmo</c:v>
                </c:pt>
                <c:pt idx="15">
                  <c:v>Frýdek-Místek</c:v>
                </c:pt>
                <c:pt idx="16">
                  <c:v>Žďár nad Sázavou</c:v>
                </c:pt>
                <c:pt idx="17">
                  <c:v>Kroměříž</c:v>
                </c:pt>
                <c:pt idx="18">
                  <c:v>Brno-venkov</c:v>
                </c:pt>
                <c:pt idx="19">
                  <c:v>Pelhřimov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65.80439989304602</c:v>
                </c:pt>
                <c:pt idx="1">
                  <c:v>700.01359249694099</c:v>
                </c:pt>
                <c:pt idx="2">
                  <c:v>559.36073059360695</c:v>
                </c:pt>
                <c:pt idx="3">
                  <c:v>400.11003025832099</c:v>
                </c:pt>
                <c:pt idx="4">
                  <c:v>427.02323825955602</c:v>
                </c:pt>
                <c:pt idx="5">
                  <c:v>354.21433118409601</c:v>
                </c:pt>
                <c:pt idx="6">
                  <c:v>594.60229295734496</c:v>
                </c:pt>
                <c:pt idx="7">
                  <c:v>367.85991668431802</c:v>
                </c:pt>
                <c:pt idx="8">
                  <c:v>678.09013694150894</c:v>
                </c:pt>
                <c:pt idx="9">
                  <c:v>552.50563063062998</c:v>
                </c:pt>
                <c:pt idx="10">
                  <c:v>409.42585643733599</c:v>
                </c:pt>
                <c:pt idx="11">
                  <c:v>487.04938805946801</c:v>
                </c:pt>
                <c:pt idx="12">
                  <c:v>432.00654000112701</c:v>
                </c:pt>
                <c:pt idx="13">
                  <c:v>369.32928289614603</c:v>
                </c:pt>
                <c:pt idx="14">
                  <c:v>432.99113066554901</c:v>
                </c:pt>
                <c:pt idx="15">
                  <c:v>440.38082456066701</c:v>
                </c:pt>
                <c:pt idx="16">
                  <c:v>499.40224349462801</c:v>
                </c:pt>
                <c:pt idx="17">
                  <c:v>304.31381527483597</c:v>
                </c:pt>
                <c:pt idx="18">
                  <c:v>392.595013292587</c:v>
                </c:pt>
                <c:pt idx="19">
                  <c:v>535.28451686077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Opava</c:v>
                </c:pt>
                <c:pt idx="1">
                  <c:v>Česká Lípa</c:v>
                </c:pt>
                <c:pt idx="2">
                  <c:v>Český Krumlov</c:v>
                </c:pt>
                <c:pt idx="3">
                  <c:v>Šumperk</c:v>
                </c:pt>
                <c:pt idx="4">
                  <c:v>Vyškov</c:v>
                </c:pt>
                <c:pt idx="5">
                  <c:v>Ostrava-město</c:v>
                </c:pt>
                <c:pt idx="6">
                  <c:v>České Budějovice</c:v>
                </c:pt>
                <c:pt idx="7">
                  <c:v>Uherské Hradiště</c:v>
                </c:pt>
                <c:pt idx="8">
                  <c:v>Děčín</c:v>
                </c:pt>
                <c:pt idx="9">
                  <c:v>Jihlava</c:v>
                </c:pt>
                <c:pt idx="10">
                  <c:v>Karviná</c:v>
                </c:pt>
                <c:pt idx="11">
                  <c:v>Zlín</c:v>
                </c:pt>
                <c:pt idx="12">
                  <c:v>Vsetín</c:v>
                </c:pt>
                <c:pt idx="13">
                  <c:v>Rychnov nad Kněžnou</c:v>
                </c:pt>
                <c:pt idx="14">
                  <c:v>Znojmo</c:v>
                </c:pt>
                <c:pt idx="15">
                  <c:v>Frýdek-Místek</c:v>
                </c:pt>
                <c:pt idx="16">
                  <c:v>Žďár nad Sázavou</c:v>
                </c:pt>
                <c:pt idx="17">
                  <c:v>Kroměříž</c:v>
                </c:pt>
                <c:pt idx="18">
                  <c:v>Brno-venkov</c:v>
                </c:pt>
                <c:pt idx="19">
                  <c:v>Pelhřimov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248.61045529278499</c:v>
                </c:pt>
                <c:pt idx="1">
                  <c:v>436.90168741140599</c:v>
                </c:pt>
                <c:pt idx="2">
                  <c:v>415.85127201565501</c:v>
                </c:pt>
                <c:pt idx="3">
                  <c:v>376.77027849325202</c:v>
                </c:pt>
                <c:pt idx="4">
                  <c:v>283.60381732894803</c:v>
                </c:pt>
                <c:pt idx="5">
                  <c:v>312.61620688133797</c:v>
                </c:pt>
                <c:pt idx="6">
                  <c:v>438.44925280515901</c:v>
                </c:pt>
                <c:pt idx="7">
                  <c:v>302.19586245851798</c:v>
                </c:pt>
                <c:pt idx="8">
                  <c:v>435.19217744007301</c:v>
                </c:pt>
                <c:pt idx="9">
                  <c:v>405.581362612612</c:v>
                </c:pt>
                <c:pt idx="10">
                  <c:v>287.50427343386298</c:v>
                </c:pt>
                <c:pt idx="11">
                  <c:v>410.393863386296</c:v>
                </c:pt>
                <c:pt idx="12">
                  <c:v>389.72204995207699</c:v>
                </c:pt>
                <c:pt idx="13">
                  <c:v>160.08470623826099</c:v>
                </c:pt>
                <c:pt idx="14">
                  <c:v>284.58691249388897</c:v>
                </c:pt>
                <c:pt idx="15">
                  <c:v>338.32431601168702</c:v>
                </c:pt>
                <c:pt idx="16">
                  <c:v>526.534453667511</c:v>
                </c:pt>
                <c:pt idx="17">
                  <c:v>330.07078396580999</c:v>
                </c:pt>
                <c:pt idx="18">
                  <c:v>244.65426025207299</c:v>
                </c:pt>
                <c:pt idx="19">
                  <c:v>362.38900107886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Opava</c:v>
                </c:pt>
                <c:pt idx="1">
                  <c:v>Česká Lípa</c:v>
                </c:pt>
                <c:pt idx="2">
                  <c:v>Český Krumlov</c:v>
                </c:pt>
                <c:pt idx="3">
                  <c:v>Šumperk</c:v>
                </c:pt>
                <c:pt idx="4">
                  <c:v>Vyškov</c:v>
                </c:pt>
                <c:pt idx="5">
                  <c:v>Ostrava-město</c:v>
                </c:pt>
                <c:pt idx="6">
                  <c:v>České Budějovice</c:v>
                </c:pt>
                <c:pt idx="7">
                  <c:v>Uherské Hradiště</c:v>
                </c:pt>
                <c:pt idx="8">
                  <c:v>Děčín</c:v>
                </c:pt>
                <c:pt idx="9">
                  <c:v>Jihlava</c:v>
                </c:pt>
                <c:pt idx="10">
                  <c:v>Karviná</c:v>
                </c:pt>
                <c:pt idx="11">
                  <c:v>Zlín</c:v>
                </c:pt>
                <c:pt idx="12">
                  <c:v>Vsetín</c:v>
                </c:pt>
                <c:pt idx="13">
                  <c:v>Rychnov nad Kněžnou</c:v>
                </c:pt>
                <c:pt idx="14">
                  <c:v>Znojmo</c:v>
                </c:pt>
                <c:pt idx="15">
                  <c:v>Frýdek-Místek</c:v>
                </c:pt>
                <c:pt idx="16">
                  <c:v>Žďár nad Sázavou</c:v>
                </c:pt>
                <c:pt idx="17">
                  <c:v>Kroměříž</c:v>
                </c:pt>
                <c:pt idx="18">
                  <c:v>Brno-venkov</c:v>
                </c:pt>
                <c:pt idx="19">
                  <c:v>Pelhřimov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161.56835080812601</c:v>
                </c:pt>
                <c:pt idx="1">
                  <c:v>124.274257752577</c:v>
                </c:pt>
                <c:pt idx="2">
                  <c:v>159.81735159817299</c:v>
                </c:pt>
                <c:pt idx="3">
                  <c:v>110.86382088407601</c:v>
                </c:pt>
                <c:pt idx="4">
                  <c:v>117.539224672453</c:v>
                </c:pt>
                <c:pt idx="5">
                  <c:v>153.47186769275299</c:v>
                </c:pt>
                <c:pt idx="6">
                  <c:v>179.550564083783</c:v>
                </c:pt>
                <c:pt idx="7">
                  <c:v>113.676480971545</c:v>
                </c:pt>
                <c:pt idx="8">
                  <c:v>145.583071880668</c:v>
                </c:pt>
                <c:pt idx="9">
                  <c:v>181.235923423423</c:v>
                </c:pt>
                <c:pt idx="10">
                  <c:v>136.33798639915301</c:v>
                </c:pt>
                <c:pt idx="11">
                  <c:v>169.997966281998</c:v>
                </c:pt>
                <c:pt idx="12">
                  <c:v>176.89011670519201</c:v>
                </c:pt>
                <c:pt idx="13">
                  <c:v>52.941398913439997</c:v>
                </c:pt>
                <c:pt idx="14">
                  <c:v>132.69083036524799</c:v>
                </c:pt>
                <c:pt idx="15">
                  <c:v>129.551184368111</c:v>
                </c:pt>
                <c:pt idx="16">
                  <c:v>153.46656379036901</c:v>
                </c:pt>
                <c:pt idx="17">
                  <c:v>115.429378207696</c:v>
                </c:pt>
                <c:pt idx="18">
                  <c:v>132.925870642371</c:v>
                </c:pt>
                <c:pt idx="19">
                  <c:v>147.99856150930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Opava</c:v>
                </c:pt>
                <c:pt idx="1">
                  <c:v>Česká Lípa</c:v>
                </c:pt>
                <c:pt idx="2">
                  <c:v>Český Krumlov</c:v>
                </c:pt>
                <c:pt idx="3">
                  <c:v>Šumperk</c:v>
                </c:pt>
                <c:pt idx="4">
                  <c:v>Vyškov</c:v>
                </c:pt>
                <c:pt idx="5">
                  <c:v>Ostrava-město</c:v>
                </c:pt>
                <c:pt idx="6">
                  <c:v>České Budějovice</c:v>
                </c:pt>
                <c:pt idx="7">
                  <c:v>Uherské Hradiště</c:v>
                </c:pt>
                <c:pt idx="8">
                  <c:v>Děčín</c:v>
                </c:pt>
                <c:pt idx="9">
                  <c:v>Jihlava</c:v>
                </c:pt>
                <c:pt idx="10">
                  <c:v>Karviná</c:v>
                </c:pt>
                <c:pt idx="11">
                  <c:v>Zlín</c:v>
                </c:pt>
                <c:pt idx="12">
                  <c:v>Vsetín</c:v>
                </c:pt>
                <c:pt idx="13">
                  <c:v>Rychnov nad Kněžnou</c:v>
                </c:pt>
                <c:pt idx="14">
                  <c:v>Znojmo</c:v>
                </c:pt>
                <c:pt idx="15">
                  <c:v>Frýdek-Místek</c:v>
                </c:pt>
                <c:pt idx="16">
                  <c:v>Žďár nad Sázavou</c:v>
                </c:pt>
                <c:pt idx="17">
                  <c:v>Kroměříž</c:v>
                </c:pt>
                <c:pt idx="18">
                  <c:v>Brno-venkov</c:v>
                </c:pt>
                <c:pt idx="19">
                  <c:v>Pelhřimov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126.865289543</c:v>
                </c:pt>
                <c:pt idx="1">
                  <c:v>121.36157983650099</c:v>
                </c:pt>
                <c:pt idx="2">
                  <c:v>114.155251141552</c:v>
                </c:pt>
                <c:pt idx="3">
                  <c:v>107.52957063192299</c:v>
                </c:pt>
                <c:pt idx="4">
                  <c:v>100.28576050034999</c:v>
                </c:pt>
                <c:pt idx="5">
                  <c:v>97.377427345094006</c:v>
                </c:pt>
                <c:pt idx="6">
                  <c:v>94.098737550991004</c:v>
                </c:pt>
                <c:pt idx="7">
                  <c:v>91.788462896279</c:v>
                </c:pt>
                <c:pt idx="8">
                  <c:v>87.194139308206999</c:v>
                </c:pt>
                <c:pt idx="9">
                  <c:v>87.098817567566996</c:v>
                </c:pt>
                <c:pt idx="10">
                  <c:v>84.850831414577996</c:v>
                </c:pt>
                <c:pt idx="11">
                  <c:v>80.827253907084994</c:v>
                </c:pt>
                <c:pt idx="12">
                  <c:v>76.816823589107003</c:v>
                </c:pt>
                <c:pt idx="13">
                  <c:v>75.630569876343998</c:v>
                </c:pt>
                <c:pt idx="14">
                  <c:v>74.202109085830003</c:v>
                </c:pt>
                <c:pt idx="15">
                  <c:v>73.163798366162993</c:v>
                </c:pt>
                <c:pt idx="16">
                  <c:v>72.069933271720004</c:v>
                </c:pt>
                <c:pt idx="17">
                  <c:v>71.547135252703995</c:v>
                </c:pt>
                <c:pt idx="18">
                  <c:v>71.541498485263006</c:v>
                </c:pt>
                <c:pt idx="19">
                  <c:v>70.541370439016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73-479C-A53C-670206C9E724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073-479C-A53C-670206C9E724}"/>
              </c:ext>
            </c:extLst>
          </c:dPt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073-479C-A53C-670206C9E724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073-479C-A53C-670206C9E724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073-479C-A53C-670206C9E724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073-479C-A53C-670206C9E724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073-479C-A53C-670206C9E724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073-479C-A53C-670206C9E724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2.285714285714</c:v>
                </c:pt>
                <c:pt idx="1">
                  <c:v>1.3913043478260001</c:v>
                </c:pt>
                <c:pt idx="2">
                  <c:v>1.2307692307689999</c:v>
                </c:pt>
                <c:pt idx="3">
                  <c:v>1.1111111111109999</c:v>
                </c:pt>
                <c:pt idx="4">
                  <c:v>1.106382978723</c:v>
                </c:pt>
                <c:pt idx="5">
                  <c:v>1.0964912280700001</c:v>
                </c:pt>
                <c:pt idx="6">
                  <c:v>1.014492753623</c:v>
                </c:pt>
                <c:pt idx="7">
                  <c:v>1</c:v>
                </c:pt>
                <c:pt idx="8">
                  <c:v>0.98591549295699998</c:v>
                </c:pt>
                <c:pt idx="9">
                  <c:v>0.98076923076900002</c:v>
                </c:pt>
                <c:pt idx="10">
                  <c:v>0.97468354430299997</c:v>
                </c:pt>
                <c:pt idx="11">
                  <c:v>0.96992481203000003</c:v>
                </c:pt>
                <c:pt idx="12">
                  <c:v>0.96774193548300003</c:v>
                </c:pt>
                <c:pt idx="13">
                  <c:v>0.96341463414600004</c:v>
                </c:pt>
                <c:pt idx="14">
                  <c:v>0.92079207920700001</c:v>
                </c:pt>
                <c:pt idx="15">
                  <c:v>0.9</c:v>
                </c:pt>
                <c:pt idx="16">
                  <c:v>0.89502762430899996</c:v>
                </c:pt>
                <c:pt idx="17">
                  <c:v>0.88095238095200001</c:v>
                </c:pt>
                <c:pt idx="18">
                  <c:v>0.875</c:v>
                </c:pt>
                <c:pt idx="19">
                  <c:v>0.87248322147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A9-49E6-9E93-BE08CED75D17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A9-49E6-9E93-BE08CED75D17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A9-49E6-9E93-BE08CED75D17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4FC-4F2A-8850-F74443BEFA26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FC-4F2A-8850-F74443BEFA26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4FC-4F2A-8850-F74443BEFA26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FC-4F2A-8850-F74443BEFA26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4FC-4F2A-8850-F74443BEFA2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7.49896099919</c:v>
                </c:pt>
                <c:pt idx="1">
                  <c:v>31.514984390234002</c:v>
                </c:pt>
                <c:pt idx="2">
                  <c:v>64.660833720623998</c:v>
                </c:pt>
                <c:pt idx="3">
                  <c:v>18.267008868632001</c:v>
                </c:pt>
                <c:pt idx="4">
                  <c:v>44.642090623443003</c:v>
                </c:pt>
                <c:pt idx="5">
                  <c:v>121.36157983650099</c:v>
                </c:pt>
                <c:pt idx="6">
                  <c:v>64.513750645136994</c:v>
                </c:pt>
                <c:pt idx="7">
                  <c:v>67.173307132401007</c:v>
                </c:pt>
                <c:pt idx="8">
                  <c:v>35.926914391295</c:v>
                </c:pt>
                <c:pt idx="9">
                  <c:v>31.015294797336001</c:v>
                </c:pt>
                <c:pt idx="10">
                  <c:v>59.735766208175001</c:v>
                </c:pt>
                <c:pt idx="11">
                  <c:v>107.52957063192299</c:v>
                </c:pt>
                <c:pt idx="12">
                  <c:v>75.630569876343998</c:v>
                </c:pt>
                <c:pt idx="13">
                  <c:v>47.349336210254997</c:v>
                </c:pt>
                <c:pt idx="14">
                  <c:v>100.28576050034999</c:v>
                </c:pt>
                <c:pt idx="15">
                  <c:v>39.573050752436998</c:v>
                </c:pt>
                <c:pt idx="16">
                  <c:v>71.541498485263006</c:v>
                </c:pt>
                <c:pt idx="17">
                  <c:v>42.897058653031998</c:v>
                </c:pt>
                <c:pt idx="18">
                  <c:v>46.522447080715999</c:v>
                </c:pt>
                <c:pt idx="19">
                  <c:v>91.788462896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A9-49E6-9E93-BE08CED75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2E-4D6A-9D87-419241CDACFF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2E-4D6A-9D87-419241CDACFF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2E-4D6A-9D87-419241CDACF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.3783597518E-2</c:v>
                </c:pt>
                <c:pt idx="1">
                  <c:v>2.0684736091000001E-2</c:v>
                </c:pt>
                <c:pt idx="2">
                  <c:v>7.7922077921999996E-2</c:v>
                </c:pt>
                <c:pt idx="3">
                  <c:v>7.2649572639999997E-3</c:v>
                </c:pt>
                <c:pt idx="4">
                  <c:v>3.1722791605000002E-2</c:v>
                </c:pt>
                <c:pt idx="5">
                  <c:v>7.6340694006000007E-2</c:v>
                </c:pt>
                <c:pt idx="6">
                  <c:v>6.4958828910999994E-2</c:v>
                </c:pt>
                <c:pt idx="7">
                  <c:v>4.8725637181000002E-2</c:v>
                </c:pt>
                <c:pt idx="8">
                  <c:v>2.8305872411999999E-2</c:v>
                </c:pt>
                <c:pt idx="9">
                  <c:v>1.7726161369000001E-2</c:v>
                </c:pt>
                <c:pt idx="10">
                  <c:v>6.8421052630999998E-2</c:v>
                </c:pt>
                <c:pt idx="11">
                  <c:v>8.4677419354E-2</c:v>
                </c:pt>
                <c:pt idx="12">
                  <c:v>3.0318602260999999E-2</c:v>
                </c:pt>
                <c:pt idx="13">
                  <c:v>3.1528189909999997E-2</c:v>
                </c:pt>
                <c:pt idx="14">
                  <c:v>6.1470215462000002E-2</c:v>
                </c:pt>
                <c:pt idx="15">
                  <c:v>2.4714828897E-2</c:v>
                </c:pt>
                <c:pt idx="16">
                  <c:v>4.6624713957999997E-2</c:v>
                </c:pt>
                <c:pt idx="17">
                  <c:v>7.0032573289000005E-2</c:v>
                </c:pt>
                <c:pt idx="18">
                  <c:v>2.8400597906999999E-2</c:v>
                </c:pt>
                <c:pt idx="19">
                  <c:v>2.7755591053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2E-4D6A-9D87-419241CDA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6157087673676</c:v>
                </c:pt>
                <c:pt idx="22">
                  <c:v>673.48429797476865</c:v>
                </c:pt>
                <c:pt idx="23">
                  <c:v>700.20036583339402</c:v>
                </c:pt>
                <c:pt idx="24">
                  <c:v>727.16891315725661</c:v>
                </c:pt>
                <c:pt idx="25">
                  <c:v>759.78551962939014</c:v>
                </c:pt>
                <c:pt idx="26">
                  <c:v>769.5948144084233</c:v>
                </c:pt>
                <c:pt idx="27">
                  <c:v>774.44803079576207</c:v>
                </c:pt>
                <c:pt idx="28">
                  <c:v>783.02298152252411</c:v>
                </c:pt>
                <c:pt idx="29">
                  <c:v>791.78495407538787</c:v>
                </c:pt>
                <c:pt idx="30">
                  <c:v>805.25987664601416</c:v>
                </c:pt>
                <c:pt idx="31">
                  <c:v>805.82094212431912</c:v>
                </c:pt>
                <c:pt idx="32">
                  <c:v>790.79373839704897</c:v>
                </c:pt>
                <c:pt idx="33">
                  <c:v>803.00626364148889</c:v>
                </c:pt>
                <c:pt idx="34">
                  <c:v>797.34885340191306</c:v>
                </c:pt>
                <c:pt idx="35">
                  <c:v>781.71382873981236</c:v>
                </c:pt>
                <c:pt idx="36">
                  <c:v>768.44463017789792</c:v>
                </c:pt>
                <c:pt idx="37">
                  <c:v>761.88016408172882</c:v>
                </c:pt>
                <c:pt idx="38">
                  <c:v>730.05840037052758</c:v>
                </c:pt>
                <c:pt idx="39">
                  <c:v>746.8062048979333</c:v>
                </c:pt>
                <c:pt idx="40">
                  <c:v>726.47693240068043</c:v>
                </c:pt>
                <c:pt idx="41">
                  <c:v>720.39872305237577</c:v>
                </c:pt>
                <c:pt idx="42">
                  <c:v>720.17429686105368</c:v>
                </c:pt>
                <c:pt idx="43">
                  <c:v>707.73734542529189</c:v>
                </c:pt>
                <c:pt idx="44">
                  <c:v>684.28480843214084</c:v>
                </c:pt>
                <c:pt idx="45">
                  <c:v>678.81442001866662</c:v>
                </c:pt>
                <c:pt idx="46">
                  <c:v>629.72119066697496</c:v>
                </c:pt>
                <c:pt idx="47">
                  <c:v>615.78806462239959</c:v>
                </c:pt>
                <c:pt idx="48">
                  <c:v>606.97933661301045</c:v>
                </c:pt>
                <c:pt idx="49">
                  <c:v>584.6395794851644</c:v>
                </c:pt>
                <c:pt idx="50">
                  <c:v>556.02524009160697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1135241186614</c:v>
                </c:pt>
                <c:pt idx="54">
                  <c:v>468.01276872815527</c:v>
                </c:pt>
                <c:pt idx="55">
                  <c:v>461.96261265376586</c:v>
                </c:pt>
                <c:pt idx="56">
                  <c:v>449.75943850063106</c:v>
                </c:pt>
                <c:pt idx="57">
                  <c:v>427.8965870293444</c:v>
                </c:pt>
                <c:pt idx="58">
                  <c:v>413.07510731078605</c:v>
                </c:pt>
                <c:pt idx="59">
                  <c:v>397.10227563142001</c:v>
                </c:pt>
                <c:pt idx="60">
                  <c:v>360.893335751623</c:v>
                </c:pt>
                <c:pt idx="61">
                  <c:v>343.989600979351</c:v>
                </c:pt>
                <c:pt idx="62">
                  <c:v>345.68090888083299</c:v>
                </c:pt>
                <c:pt idx="63">
                  <c:v>294.138066977101</c:v>
                </c:pt>
                <c:pt idx="64">
                  <c:v>265.65681568584301</c:v>
                </c:pt>
                <c:pt idx="65">
                  <c:v>263.69452475042198</c:v>
                </c:pt>
                <c:pt idx="66">
                  <c:v>254.69601917513299</c:v>
                </c:pt>
                <c:pt idx="67">
                  <c:v>263.86272111631502</c:v>
                </c:pt>
                <c:pt idx="68">
                  <c:v>264.27386778849899</c:v>
                </c:pt>
                <c:pt idx="69">
                  <c:v>255.49027979185101</c:v>
                </c:pt>
                <c:pt idx="70">
                  <c:v>278.374329795883</c:v>
                </c:pt>
                <c:pt idx="71">
                  <c:v>273.45925821477999</c:v>
                </c:pt>
                <c:pt idx="72">
                  <c:v>242.27752082668101</c:v>
                </c:pt>
                <c:pt idx="73">
                  <c:v>223.411495118988</c:v>
                </c:pt>
                <c:pt idx="74">
                  <c:v>208.432674311939</c:v>
                </c:pt>
                <c:pt idx="75">
                  <c:v>202.23744150153701</c:v>
                </c:pt>
                <c:pt idx="76">
                  <c:v>200.817116633994</c:v>
                </c:pt>
                <c:pt idx="77">
                  <c:v>195.89270081034201</c:v>
                </c:pt>
                <c:pt idx="78">
                  <c:v>184.29649580625701</c:v>
                </c:pt>
                <c:pt idx="79">
                  <c:v>177.157494498343</c:v>
                </c:pt>
                <c:pt idx="80">
                  <c:v>171.22390047933101</c:v>
                </c:pt>
                <c:pt idx="81">
                  <c:v>165.48653555386099</c:v>
                </c:pt>
                <c:pt idx="82">
                  <c:v>163.29998279724899</c:v>
                </c:pt>
                <c:pt idx="83">
                  <c:v>163.225228856852</c:v>
                </c:pt>
                <c:pt idx="84">
                  <c:v>156.10491603403801</c:v>
                </c:pt>
                <c:pt idx="85">
                  <c:v>150.713288082904</c:v>
                </c:pt>
                <c:pt idx="86">
                  <c:v>146.37755953987801</c:v>
                </c:pt>
                <c:pt idx="87">
                  <c:v>142.639862520028</c:v>
                </c:pt>
                <c:pt idx="88">
                  <c:v>138.58446125348999</c:v>
                </c:pt>
                <c:pt idx="89">
                  <c:v>137.31364426674099</c:v>
                </c:pt>
                <c:pt idx="90">
                  <c:v>134.35151937851001</c:v>
                </c:pt>
                <c:pt idx="91">
                  <c:v>130.96890357554599</c:v>
                </c:pt>
                <c:pt idx="92">
                  <c:v>123.287936199754</c:v>
                </c:pt>
                <c:pt idx="93">
                  <c:v>117.541227031735</c:v>
                </c:pt>
                <c:pt idx="94">
                  <c:v>111.41140391918</c:v>
                </c:pt>
                <c:pt idx="95">
                  <c:v>106.468299610429</c:v>
                </c:pt>
                <c:pt idx="96">
                  <c:v>102.291423190746</c:v>
                </c:pt>
                <c:pt idx="97">
                  <c:v>101.132737114593</c:v>
                </c:pt>
                <c:pt idx="98">
                  <c:v>94.853406121245001</c:v>
                </c:pt>
                <c:pt idx="99">
                  <c:v>88.078830272765998</c:v>
                </c:pt>
                <c:pt idx="100">
                  <c:v>82.416219287692996</c:v>
                </c:pt>
                <c:pt idx="101">
                  <c:v>79.164422880423999</c:v>
                </c:pt>
                <c:pt idx="102">
                  <c:v>73.707385231442998</c:v>
                </c:pt>
                <c:pt idx="103">
                  <c:v>72.520666427639995</c:v>
                </c:pt>
                <c:pt idx="104">
                  <c:v>70.3</c:v>
                </c:pt>
                <c:pt idx="105">
                  <c:v>67.400000000000006</c:v>
                </c:pt>
                <c:pt idx="106">
                  <c:v>62.8</c:v>
                </c:pt>
                <c:pt idx="107">
                  <c:v>58.3</c:v>
                </c:pt>
                <c:pt idx="108">
                  <c:v>5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0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7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3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79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7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1</c:v>
                </c:pt>
                <c:pt idx="51">
                  <c:v>1320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3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  <c:pt idx="97">
                  <c:v>57</c:v>
                </c:pt>
                <c:pt idx="98">
                  <c:v>214</c:v>
                </c:pt>
                <c:pt idx="99">
                  <c:v>184</c:v>
                </c:pt>
                <c:pt idx="100">
                  <c:v>133</c:v>
                </c:pt>
                <c:pt idx="101">
                  <c:v>155</c:v>
                </c:pt>
                <c:pt idx="102">
                  <c:v>133</c:v>
                </c:pt>
                <c:pt idx="103">
                  <c:v>70</c:v>
                </c:pt>
                <c:pt idx="104">
                  <c:v>29</c:v>
                </c:pt>
                <c:pt idx="105">
                  <c:v>119</c:v>
                </c:pt>
                <c:pt idx="106">
                  <c:v>139</c:v>
                </c:pt>
                <c:pt idx="107">
                  <c:v>91</c:v>
                </c:pt>
                <c:pt idx="108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16-49AE-B3C8-29A308A3E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4</c:v>
                </c:pt>
                <c:pt idx="1">
                  <c:v>6366</c:v>
                </c:pt>
                <c:pt idx="2">
                  <c:v>6218</c:v>
                </c:pt>
                <c:pt idx="3">
                  <c:v>6314</c:v>
                </c:pt>
                <c:pt idx="4">
                  <c:v>6382</c:v>
                </c:pt>
                <c:pt idx="5">
                  <c:v>7056</c:v>
                </c:pt>
                <c:pt idx="6">
                  <c:v>6699</c:v>
                </c:pt>
                <c:pt idx="7">
                  <c:v>6224</c:v>
                </c:pt>
                <c:pt idx="8">
                  <c:v>5907</c:v>
                </c:pt>
                <c:pt idx="9">
                  <c:v>5268</c:v>
                </c:pt>
                <c:pt idx="10">
                  <c:v>5222</c:v>
                </c:pt>
                <c:pt idx="11">
                  <c:v>5516</c:v>
                </c:pt>
                <c:pt idx="12">
                  <c:v>5210</c:v>
                </c:pt>
                <c:pt idx="13">
                  <c:v>4909</c:v>
                </c:pt>
                <c:pt idx="14">
                  <c:v>4649</c:v>
                </c:pt>
                <c:pt idx="15">
                  <c:v>4404</c:v>
                </c:pt>
                <c:pt idx="16">
                  <c:v>4008</c:v>
                </c:pt>
                <c:pt idx="17">
                  <c:v>4016</c:v>
                </c:pt>
                <c:pt idx="18">
                  <c:v>4289</c:v>
                </c:pt>
                <c:pt idx="19">
                  <c:v>4122</c:v>
                </c:pt>
                <c:pt idx="20">
                  <c:v>3961</c:v>
                </c:pt>
                <c:pt idx="21">
                  <c:v>3725</c:v>
                </c:pt>
                <c:pt idx="22">
                  <c:v>3512</c:v>
                </c:pt>
                <c:pt idx="23">
                  <c:v>3165</c:v>
                </c:pt>
                <c:pt idx="24">
                  <c:v>3160</c:v>
                </c:pt>
                <c:pt idx="25">
                  <c:v>3312</c:v>
                </c:pt>
                <c:pt idx="26">
                  <c:v>3142</c:v>
                </c:pt>
                <c:pt idx="27">
                  <c:v>2993</c:v>
                </c:pt>
                <c:pt idx="28">
                  <c:v>2827</c:v>
                </c:pt>
                <c:pt idx="29">
                  <c:v>2668</c:v>
                </c:pt>
                <c:pt idx="30">
                  <c:v>2462</c:v>
                </c:pt>
                <c:pt idx="31">
                  <c:v>2490</c:v>
                </c:pt>
                <c:pt idx="32">
                  <c:v>2683</c:v>
                </c:pt>
                <c:pt idx="33">
                  <c:v>2531</c:v>
                </c:pt>
                <c:pt idx="34">
                  <c:v>2354</c:v>
                </c:pt>
                <c:pt idx="35">
                  <c:v>2216</c:v>
                </c:pt>
                <c:pt idx="36">
                  <c:v>2120</c:v>
                </c:pt>
                <c:pt idx="37">
                  <c:v>1880</c:v>
                </c:pt>
                <c:pt idx="38">
                  <c:v>1860</c:v>
                </c:pt>
                <c:pt idx="39">
                  <c:v>1975</c:v>
                </c:pt>
                <c:pt idx="40">
                  <c:v>1824</c:v>
                </c:pt>
                <c:pt idx="41">
                  <c:v>1715</c:v>
                </c:pt>
                <c:pt idx="42">
                  <c:v>1618</c:v>
                </c:pt>
                <c:pt idx="43">
                  <c:v>1530</c:v>
                </c:pt>
                <c:pt idx="44">
                  <c:v>1332</c:v>
                </c:pt>
                <c:pt idx="45">
                  <c:v>1318</c:v>
                </c:pt>
                <c:pt idx="46">
                  <c:v>1387</c:v>
                </c:pt>
                <c:pt idx="47">
                  <c:v>1235</c:v>
                </c:pt>
                <c:pt idx="48">
                  <c:v>1136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3</c:v>
                </c:pt>
                <c:pt idx="1">
                  <c:v>1422</c:v>
                </c:pt>
                <c:pt idx="2">
                  <c:v>1399</c:v>
                </c:pt>
                <c:pt idx="3">
                  <c:v>1378</c:v>
                </c:pt>
                <c:pt idx="4">
                  <c:v>1344</c:v>
                </c:pt>
                <c:pt idx="5">
                  <c:v>1394</c:v>
                </c:pt>
                <c:pt idx="6">
                  <c:v>1360</c:v>
                </c:pt>
                <c:pt idx="7">
                  <c:v>1313</c:v>
                </c:pt>
                <c:pt idx="8">
                  <c:v>1234</c:v>
                </c:pt>
                <c:pt idx="9">
                  <c:v>1215</c:v>
                </c:pt>
                <c:pt idx="10">
                  <c:v>1197</c:v>
                </c:pt>
                <c:pt idx="11">
                  <c:v>1184</c:v>
                </c:pt>
                <c:pt idx="12">
                  <c:v>1156</c:v>
                </c:pt>
                <c:pt idx="13">
                  <c:v>1112</c:v>
                </c:pt>
                <c:pt idx="14">
                  <c:v>1034</c:v>
                </c:pt>
                <c:pt idx="15">
                  <c:v>1012</c:v>
                </c:pt>
                <c:pt idx="16">
                  <c:v>972</c:v>
                </c:pt>
                <c:pt idx="17">
                  <c:v>974</c:v>
                </c:pt>
                <c:pt idx="18">
                  <c:v>994</c:v>
                </c:pt>
                <c:pt idx="19">
                  <c:v>942</c:v>
                </c:pt>
                <c:pt idx="20">
                  <c:v>907</c:v>
                </c:pt>
                <c:pt idx="21">
                  <c:v>832</c:v>
                </c:pt>
                <c:pt idx="22">
                  <c:v>786</c:v>
                </c:pt>
                <c:pt idx="23">
                  <c:v>750</c:v>
                </c:pt>
                <c:pt idx="24">
                  <c:v>758</c:v>
                </c:pt>
                <c:pt idx="25">
                  <c:v>736</c:v>
                </c:pt>
                <c:pt idx="26">
                  <c:v>711</c:v>
                </c:pt>
                <c:pt idx="27">
                  <c:v>684</c:v>
                </c:pt>
                <c:pt idx="28">
                  <c:v>635</c:v>
                </c:pt>
                <c:pt idx="29">
                  <c:v>577</c:v>
                </c:pt>
                <c:pt idx="30">
                  <c:v>554</c:v>
                </c:pt>
                <c:pt idx="31">
                  <c:v>561</c:v>
                </c:pt>
                <c:pt idx="32">
                  <c:v>568</c:v>
                </c:pt>
                <c:pt idx="33">
                  <c:v>549</c:v>
                </c:pt>
                <c:pt idx="34">
                  <c:v>506</c:v>
                </c:pt>
                <c:pt idx="35">
                  <c:v>467</c:v>
                </c:pt>
                <c:pt idx="36">
                  <c:v>444</c:v>
                </c:pt>
                <c:pt idx="37">
                  <c:v>415</c:v>
                </c:pt>
                <c:pt idx="38">
                  <c:v>421</c:v>
                </c:pt>
                <c:pt idx="39">
                  <c:v>426</c:v>
                </c:pt>
                <c:pt idx="40">
                  <c:v>403</c:v>
                </c:pt>
                <c:pt idx="41">
                  <c:v>379</c:v>
                </c:pt>
                <c:pt idx="42">
                  <c:v>369</c:v>
                </c:pt>
                <c:pt idx="43">
                  <c:v>341</c:v>
                </c:pt>
                <c:pt idx="44">
                  <c:v>309</c:v>
                </c:pt>
                <c:pt idx="45">
                  <c:v>304</c:v>
                </c:pt>
                <c:pt idx="46">
                  <c:v>296</c:v>
                </c:pt>
                <c:pt idx="47">
                  <c:v>270</c:v>
                </c:pt>
                <c:pt idx="48">
                  <c:v>247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450.60805406196437</c:v>
                </c:pt>
                <c:pt idx="1">
                  <c:v>464.03112391804046</c:v>
                </c:pt>
                <c:pt idx="2">
                  <c:v>488.62174779372089</c:v>
                </c:pt>
                <c:pt idx="3">
                  <c:v>526.6354415254774</c:v>
                </c:pt>
                <c:pt idx="4">
                  <c:v>652.33918997274736</c:v>
                </c:pt>
                <c:pt idx="5">
                  <c:v>849.5592942105867</c:v>
                </c:pt>
                <c:pt idx="6">
                  <c:v>901.16109554255138</c:v>
                </c:pt>
                <c:pt idx="7">
                  <c:v>817.26690894207582</c:v>
                </c:pt>
                <c:pt idx="8">
                  <c:v>692.88346244786248</c:v>
                </c:pt>
                <c:pt idx="9">
                  <c:v>535.38244196447772</c:v>
                </c:pt>
                <c:pt idx="10">
                  <c:v>397.0808123817921</c:v>
                </c:pt>
                <c:pt idx="11">
                  <c:v>305.26481406297648</c:v>
                </c:pt>
                <c:pt idx="12">
                  <c:v>219.72025002118005</c:v>
                </c:pt>
                <c:pt idx="13">
                  <c:v>183.02685824248022</c:v>
                </c:pt>
                <c:pt idx="14">
                  <c:v>150.67946039259192</c:v>
                </c:pt>
                <c:pt idx="15">
                  <c:v>111.4554898705335</c:v>
                </c:pt>
                <c:pt idx="16">
                  <c:v>82.4088469032868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521.66342389759313</c:v>
                </c:pt>
                <c:pt idx="1">
                  <c:v>517.0374863050497</c:v>
                </c:pt>
                <c:pt idx="2">
                  <c:v>558.03831778767847</c:v>
                </c:pt>
                <c:pt idx="3">
                  <c:v>600.85789396481152</c:v>
                </c:pt>
                <c:pt idx="4">
                  <c:v>739.47787002854966</c:v>
                </c:pt>
                <c:pt idx="5">
                  <c:v>930.287911238932</c:v>
                </c:pt>
                <c:pt idx="6">
                  <c:v>965.91158449433078</c:v>
                </c:pt>
                <c:pt idx="7">
                  <c:v>864.49679881164718</c:v>
                </c:pt>
                <c:pt idx="8">
                  <c:v>712.75023060496528</c:v>
                </c:pt>
                <c:pt idx="9">
                  <c:v>522.09834110714849</c:v>
                </c:pt>
                <c:pt idx="10">
                  <c:v>382.45037891173399</c:v>
                </c:pt>
                <c:pt idx="11">
                  <c:v>293.84588194686313</c:v>
                </c:pt>
                <c:pt idx="12">
                  <c:v>222.75668714863116</c:v>
                </c:pt>
                <c:pt idx="13">
                  <c:v>184.72120027660716</c:v>
                </c:pt>
                <c:pt idx="14">
                  <c:v>156.76788508063945</c:v>
                </c:pt>
                <c:pt idx="15">
                  <c:v>114.14599854421338</c:v>
                </c:pt>
                <c:pt idx="16">
                  <c:v>86.153145420104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544.8373115384976</c:v>
                </c:pt>
                <c:pt idx="1">
                  <c:v>522.28259747739548</c:v>
                </c:pt>
                <c:pt idx="2">
                  <c:v>548.05941354722643</c:v>
                </c:pt>
                <c:pt idx="3">
                  <c:v>579.72663485176486</c:v>
                </c:pt>
                <c:pt idx="4">
                  <c:v>697.68577557757339</c:v>
                </c:pt>
                <c:pt idx="5">
                  <c:v>875.40483949652514</c:v>
                </c:pt>
                <c:pt idx="6">
                  <c:v>920.01081417986552</c:v>
                </c:pt>
                <c:pt idx="7">
                  <c:v>872.23308283168274</c:v>
                </c:pt>
                <c:pt idx="8">
                  <c:v>741.33518872707236</c:v>
                </c:pt>
                <c:pt idx="9">
                  <c:v>559.99126004830055</c:v>
                </c:pt>
                <c:pt idx="10">
                  <c:v>405.58209034874665</c:v>
                </c:pt>
                <c:pt idx="11">
                  <c:v>320.64949521240908</c:v>
                </c:pt>
                <c:pt idx="12">
                  <c:v>221.67054913176906</c:v>
                </c:pt>
                <c:pt idx="13">
                  <c:v>184.36464931195511</c:v>
                </c:pt>
                <c:pt idx="14">
                  <c:v>152.999500070735</c:v>
                </c:pt>
                <c:pt idx="15">
                  <c:v>113.17633305660161</c:v>
                </c:pt>
                <c:pt idx="16">
                  <c:v>76.474577363424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47.63585202478379</c:v>
                </c:pt>
                <c:pt idx="1">
                  <c:v>323.28510855406842</c:v>
                </c:pt>
                <c:pt idx="2">
                  <c:v>346.70820465447082</c:v>
                </c:pt>
                <c:pt idx="3">
                  <c:v>351.57835334861386</c:v>
                </c:pt>
                <c:pt idx="4">
                  <c:v>416.82288506062577</c:v>
                </c:pt>
                <c:pt idx="5">
                  <c:v>524.89380370208619</c:v>
                </c:pt>
                <c:pt idx="6">
                  <c:v>579.7023024980773</c:v>
                </c:pt>
                <c:pt idx="7">
                  <c:v>526.43988265260782</c:v>
                </c:pt>
                <c:pt idx="8">
                  <c:v>468.61652990309966</c:v>
                </c:pt>
                <c:pt idx="9">
                  <c:v>367.27105469640821</c:v>
                </c:pt>
                <c:pt idx="10">
                  <c:v>283.08705584050659</c:v>
                </c:pt>
                <c:pt idx="11">
                  <c:v>208.72065832041721</c:v>
                </c:pt>
                <c:pt idx="12">
                  <c:v>156.61779768783899</c:v>
                </c:pt>
                <c:pt idx="13">
                  <c:v>120.36224629810725</c:v>
                </c:pt>
                <c:pt idx="14">
                  <c:v>99.567484413591615</c:v>
                </c:pt>
                <c:pt idx="15">
                  <c:v>74.675613310193711</c:v>
                </c:pt>
                <c:pt idx="16">
                  <c:v>48.237663256274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57.71671290476621</c:v>
                </c:pt>
                <c:pt idx="1">
                  <c:v>421.7516048417591</c:v>
                </c:pt>
                <c:pt idx="2">
                  <c:v>410.18726141313942</c:v>
                </c:pt>
                <c:pt idx="3">
                  <c:v>383.24234122445563</c:v>
                </c:pt>
                <c:pt idx="4">
                  <c:v>445.1115785675708</c:v>
                </c:pt>
                <c:pt idx="5">
                  <c:v>532.76930175650784</c:v>
                </c:pt>
                <c:pt idx="6">
                  <c:v>557.17006639089527</c:v>
                </c:pt>
                <c:pt idx="7">
                  <c:v>489.86558763632888</c:v>
                </c:pt>
                <c:pt idx="8">
                  <c:v>439.56069372183333</c:v>
                </c:pt>
                <c:pt idx="9">
                  <c:v>340.80120084142146</c:v>
                </c:pt>
                <c:pt idx="10">
                  <c:v>252.56526048105343</c:v>
                </c:pt>
                <c:pt idx="11">
                  <c:v>182.02276556647348</c:v>
                </c:pt>
                <c:pt idx="12">
                  <c:v>144.66993629203196</c:v>
                </c:pt>
                <c:pt idx="13">
                  <c:v>98.181275708980934</c:v>
                </c:pt>
                <c:pt idx="14">
                  <c:v>80.372186828906649</c:v>
                </c:pt>
                <c:pt idx="15">
                  <c:v>54.8149878516572</c:v>
                </c:pt>
                <c:pt idx="16">
                  <c:v>37.352829274441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451.94363515517085</c:v>
                </c:pt>
                <c:pt idx="1">
                  <c:v>440.81464227856731</c:v>
                </c:pt>
                <c:pt idx="2">
                  <c:v>468.63245234880145</c:v>
                </c:pt>
                <c:pt idx="3">
                  <c:v>495.5719036193708</c:v>
                </c:pt>
                <c:pt idx="4">
                  <c:v>608.23543604020142</c:v>
                </c:pt>
                <c:pt idx="5">
                  <c:v>768.92837516610541</c:v>
                </c:pt>
                <c:pt idx="6">
                  <c:v>802.38076349376354</c:v>
                </c:pt>
                <c:pt idx="7">
                  <c:v>725.87010549743263</c:v>
                </c:pt>
                <c:pt idx="8">
                  <c:v>615.21558522477142</c:v>
                </c:pt>
                <c:pt idx="9">
                  <c:v>467.65130688109076</c:v>
                </c:pt>
                <c:pt idx="10">
                  <c:v>343.92419128150397</c:v>
                </c:pt>
                <c:pt idx="11">
                  <c:v>264.22714657575085</c:v>
                </c:pt>
                <c:pt idx="12">
                  <c:v>202.20006453133902</c:v>
                </c:pt>
                <c:pt idx="13">
                  <c:v>163.29063855469983</c:v>
                </c:pt>
                <c:pt idx="14">
                  <c:v>137.29495578164259</c:v>
                </c:pt>
                <c:pt idx="15">
                  <c:v>102.26339046309783</c:v>
                </c:pt>
                <c:pt idx="16">
                  <c:v>72.501977942541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4901960784314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40290381125227E-2</c:v>
                </c:pt>
                <c:pt idx="1">
                  <c:v>7.7108433734939766E-2</c:v>
                </c:pt>
                <c:pt idx="2">
                  <c:v>9.1096596768649021E-2</c:v>
                </c:pt>
                <c:pt idx="3">
                  <c:v>7.7447833065810601E-2</c:v>
                </c:pt>
                <c:pt idx="4">
                  <c:v>0.13078291814946619</c:v>
                </c:pt>
                <c:pt idx="5">
                  <c:v>6.8131868131868126E-2</c:v>
                </c:pt>
                <c:pt idx="6">
                  <c:v>9.5644748078565323E-2</c:v>
                </c:pt>
                <c:pt idx="7">
                  <c:v>9.853008727606799E-2</c:v>
                </c:pt>
                <c:pt idx="8">
                  <c:v>0.11450532124556563</c:v>
                </c:pt>
                <c:pt idx="9">
                  <c:v>8.6785009861932938E-2</c:v>
                </c:pt>
                <c:pt idx="10">
                  <c:v>0.15566577642121326</c:v>
                </c:pt>
                <c:pt idx="11">
                  <c:v>0.16849451645064806</c:v>
                </c:pt>
                <c:pt idx="12">
                  <c:v>7.4539739559946111E-2</c:v>
                </c:pt>
                <c:pt idx="13">
                  <c:v>8.8276289298435812E-2</c:v>
                </c:pt>
                <c:pt idx="14">
                  <c:v>0.12496618880173113</c:v>
                </c:pt>
                <c:pt idx="15">
                  <c:v>0.18136342484876686</c:v>
                </c:pt>
                <c:pt idx="16">
                  <c:v>0.14163777007201919</c:v>
                </c:pt>
                <c:pt idx="17">
                  <c:v>0.14799728445349628</c:v>
                </c:pt>
                <c:pt idx="18">
                  <c:v>0.11477339611536198</c:v>
                </c:pt>
                <c:pt idx="19">
                  <c:v>9.3774502116982905E-2</c:v>
                </c:pt>
                <c:pt idx="20">
                  <c:v>0.13869842415493805</c:v>
                </c:pt>
                <c:pt idx="21">
                  <c:v>0.13658865886588659</c:v>
                </c:pt>
                <c:pt idx="22">
                  <c:v>0.15400278641088844</c:v>
                </c:pt>
                <c:pt idx="23">
                  <c:v>0.17122711008208799</c:v>
                </c:pt>
                <c:pt idx="24">
                  <c:v>0.15937453014584274</c:v>
                </c:pt>
                <c:pt idx="25">
                  <c:v>0.15138791695824586</c:v>
                </c:pt>
                <c:pt idx="26">
                  <c:v>0.1438447221483648</c:v>
                </c:pt>
                <c:pt idx="27">
                  <c:v>0.14585978276202569</c:v>
                </c:pt>
                <c:pt idx="28">
                  <c:v>0.17759186699142221</c:v>
                </c:pt>
                <c:pt idx="29">
                  <c:v>0.20694024758748417</c:v>
                </c:pt>
                <c:pt idx="30">
                  <c:v>0.2111990842316131</c:v>
                </c:pt>
                <c:pt idx="31">
                  <c:v>0.21977401129943502</c:v>
                </c:pt>
                <c:pt idx="32">
                  <c:v>0.26150963597430404</c:v>
                </c:pt>
                <c:pt idx="33">
                  <c:v>0.24254391937900041</c:v>
                </c:pt>
                <c:pt idx="34">
                  <c:v>0.24206567602274812</c:v>
                </c:pt>
                <c:pt idx="35">
                  <c:v>0.27570053658121113</c:v>
                </c:pt>
                <c:pt idx="36">
                  <c:v>0.28455419290686113</c:v>
                </c:pt>
                <c:pt idx="37">
                  <c:v>0.39639506537637587</c:v>
                </c:pt>
                <c:pt idx="38">
                  <c:v>0.32720389399675498</c:v>
                </c:pt>
                <c:pt idx="39">
                  <c:v>0.34163568773234199</c:v>
                </c:pt>
                <c:pt idx="40">
                  <c:v>0.25888265544647032</c:v>
                </c:pt>
                <c:pt idx="41">
                  <c:v>0.32793025508556667</c:v>
                </c:pt>
                <c:pt idx="42">
                  <c:v>0.34815636262822292</c:v>
                </c:pt>
                <c:pt idx="43">
                  <c:v>0.35217514927495025</c:v>
                </c:pt>
                <c:pt idx="44">
                  <c:v>0.35679611650485438</c:v>
                </c:pt>
                <c:pt idx="45">
                  <c:v>0.36508915900536804</c:v>
                </c:pt>
                <c:pt idx="46">
                  <c:v>0.37080934642736202</c:v>
                </c:pt>
                <c:pt idx="47">
                  <c:v>0.34874495588537036</c:v>
                </c:pt>
                <c:pt idx="48">
                  <c:v>0.36402734392684144</c:v>
                </c:pt>
                <c:pt idx="49">
                  <c:v>0.40666969709492129</c:v>
                </c:pt>
                <c:pt idx="50">
                  <c:v>0.38802714493456131</c:v>
                </c:pt>
                <c:pt idx="51">
                  <c:v>0.40467409604746252</c:v>
                </c:pt>
                <c:pt idx="52">
                  <c:v>0.3849491584852735</c:v>
                </c:pt>
                <c:pt idx="53">
                  <c:v>0.41487517337031898</c:v>
                </c:pt>
                <c:pt idx="54">
                  <c:v>0.36299067447408373</c:v>
                </c:pt>
                <c:pt idx="55">
                  <c:v>0.38192547262594251</c:v>
                </c:pt>
                <c:pt idx="56">
                  <c:v>0.39469828160383641</c:v>
                </c:pt>
                <c:pt idx="57">
                  <c:v>0.3737016765073482</c:v>
                </c:pt>
                <c:pt idx="58">
                  <c:v>0.34478262489289574</c:v>
                </c:pt>
                <c:pt idx="59">
                  <c:v>0.3816014460892081</c:v>
                </c:pt>
                <c:pt idx="60">
                  <c:v>0.38635948070945331</c:v>
                </c:pt>
                <c:pt idx="61">
                  <c:v>0.37397516982899975</c:v>
                </c:pt>
                <c:pt idx="62">
                  <c:v>0.3459280997798973</c:v>
                </c:pt>
                <c:pt idx="63">
                  <c:v>0.41473601260835302</c:v>
                </c:pt>
                <c:pt idx="64">
                  <c:v>0.38154737277616879</c:v>
                </c:pt>
                <c:pt idx="65">
                  <c:v>0.34444644951727871</c:v>
                </c:pt>
                <c:pt idx="66">
                  <c:v>0.357703081232493</c:v>
                </c:pt>
                <c:pt idx="67">
                  <c:v>0.32526921374834045</c:v>
                </c:pt>
                <c:pt idx="68">
                  <c:v>0.25535532131927918</c:v>
                </c:pt>
                <c:pt idx="69">
                  <c:v>0.30496056982955994</c:v>
                </c:pt>
                <c:pt idx="70">
                  <c:v>0.32948304173036636</c:v>
                </c:pt>
                <c:pt idx="71">
                  <c:v>0.32160580226491919</c:v>
                </c:pt>
                <c:pt idx="72">
                  <c:v>0.28592629235716055</c:v>
                </c:pt>
                <c:pt idx="73">
                  <c:v>0.32071833192720262</c:v>
                </c:pt>
                <c:pt idx="74">
                  <c:v>0.27680929741151611</c:v>
                </c:pt>
                <c:pt idx="75">
                  <c:v>0.25351884808283448</c:v>
                </c:pt>
                <c:pt idx="76">
                  <c:v>0.30536793458940631</c:v>
                </c:pt>
                <c:pt idx="77">
                  <c:v>0.27176909356251011</c:v>
                </c:pt>
                <c:pt idx="78">
                  <c:v>0.29904775750527002</c:v>
                </c:pt>
                <c:pt idx="79">
                  <c:v>0.27097410978665248</c:v>
                </c:pt>
                <c:pt idx="80">
                  <c:v>0.275057273768614</c:v>
                </c:pt>
                <c:pt idx="81">
                  <c:v>0.26288659793814434</c:v>
                </c:pt>
                <c:pt idx="82">
                  <c:v>0.22687577971841028</c:v>
                </c:pt>
                <c:pt idx="83">
                  <c:v>0.2910530482977039</c:v>
                </c:pt>
                <c:pt idx="84">
                  <c:v>0.26799597548705756</c:v>
                </c:pt>
                <c:pt idx="85">
                  <c:v>0.26092115197929028</c:v>
                </c:pt>
                <c:pt idx="86">
                  <c:v>0.24134450388614112</c:v>
                </c:pt>
                <c:pt idx="87">
                  <c:v>0.26296720061022122</c:v>
                </c:pt>
                <c:pt idx="88">
                  <c:v>0.21273830155979204</c:v>
                </c:pt>
                <c:pt idx="89">
                  <c:v>0.19754708716600963</c:v>
                </c:pt>
                <c:pt idx="90">
                  <c:v>0.28686223254913351</c:v>
                </c:pt>
                <c:pt idx="91">
                  <c:v>0.2478920741989882</c:v>
                </c:pt>
                <c:pt idx="92">
                  <c:v>0.27575442247658688</c:v>
                </c:pt>
                <c:pt idx="93">
                  <c:v>0.26633003867640737</c:v>
                </c:pt>
                <c:pt idx="94">
                  <c:v>0.30903415350716124</c:v>
                </c:pt>
                <c:pt idx="95">
                  <c:v>0.2</c:v>
                </c:pt>
                <c:pt idx="96">
                  <c:v>0.21704241497898358</c:v>
                </c:pt>
                <c:pt idx="97">
                  <c:v>0.28030804902285528</c:v>
                </c:pt>
                <c:pt idx="98">
                  <c:v>0.31463614063777595</c:v>
                </c:pt>
                <c:pt idx="99">
                  <c:v>0.28173216264598072</c:v>
                </c:pt>
                <c:pt idx="100">
                  <c:v>0.26891599752933909</c:v>
                </c:pt>
                <c:pt idx="101">
                  <c:v>0.30829493087557602</c:v>
                </c:pt>
                <c:pt idx="102">
                  <c:v>0.30284191829484902</c:v>
                </c:pt>
                <c:pt idx="103">
                  <c:v>0.23576458315222115</c:v>
                </c:pt>
                <c:pt idx="104">
                  <c:v>0.30727707550392896</c:v>
                </c:pt>
                <c:pt idx="105">
                  <c:v>0.31301387461459401</c:v>
                </c:pt>
                <c:pt idx="106">
                  <c:v>0.29636459430979978</c:v>
                </c:pt>
                <c:pt idx="107">
                  <c:v>0.318784849067487</c:v>
                </c:pt>
                <c:pt idx="108">
                  <c:v>0.28583491661389065</c:v>
                </c:pt>
                <c:pt idx="109">
                  <c:v>0.35930339138405132</c:v>
                </c:pt>
                <c:pt idx="110">
                  <c:v>0.2769854484905524</c:v>
                </c:pt>
                <c:pt idx="111">
                  <c:v>0.32765002804262477</c:v>
                </c:pt>
                <c:pt idx="112">
                  <c:v>0.38722484671826313</c:v>
                </c:pt>
                <c:pt idx="113">
                  <c:v>0.41837968561064087</c:v>
                </c:pt>
                <c:pt idx="114">
                  <c:v>0.35241502683363146</c:v>
                </c:pt>
                <c:pt idx="115">
                  <c:v>0.35829407389040419</c:v>
                </c:pt>
                <c:pt idx="116">
                  <c:v>0.34756745272997663</c:v>
                </c:pt>
                <c:pt idx="117">
                  <c:v>0.40040619828494056</c:v>
                </c:pt>
                <c:pt idx="118">
                  <c:v>0.50274466315497646</c:v>
                </c:pt>
                <c:pt idx="119">
                  <c:v>0.4930391946883701</c:v>
                </c:pt>
                <c:pt idx="120">
                  <c:v>0.50227420402859002</c:v>
                </c:pt>
                <c:pt idx="121">
                  <c:v>0.48368953880764903</c:v>
                </c:pt>
                <c:pt idx="122">
                  <c:v>0.36069771163386144</c:v>
                </c:pt>
                <c:pt idx="123">
                  <c:v>0.41199809554039041</c:v>
                </c:pt>
                <c:pt idx="124">
                  <c:v>0.3549311604383254</c:v>
                </c:pt>
                <c:pt idx="125">
                  <c:v>0.41024833543278749</c:v>
                </c:pt>
                <c:pt idx="126">
                  <c:v>0.47684357946588113</c:v>
                </c:pt>
                <c:pt idx="127">
                  <c:v>0.4024687595245352</c:v>
                </c:pt>
                <c:pt idx="128">
                  <c:v>0.35706524551146063</c:v>
                </c:pt>
                <c:pt idx="129">
                  <c:v>0.44232015554115361</c:v>
                </c:pt>
                <c:pt idx="130">
                  <c:v>0.3515625</c:v>
                </c:pt>
                <c:pt idx="131">
                  <c:v>0.27478074326455926</c:v>
                </c:pt>
                <c:pt idx="132">
                  <c:v>0.30399715336259042</c:v>
                </c:pt>
                <c:pt idx="133">
                  <c:v>0.34163182566831368</c:v>
                </c:pt>
                <c:pt idx="134">
                  <c:v>0.2773982558139535</c:v>
                </c:pt>
                <c:pt idx="135">
                  <c:v>0.30810018837647385</c:v>
                </c:pt>
                <c:pt idx="136">
                  <c:v>0.31207322388493391</c:v>
                </c:pt>
                <c:pt idx="137">
                  <c:v>0.29967134747535107</c:v>
                </c:pt>
                <c:pt idx="138">
                  <c:v>0.26532719186785259</c:v>
                </c:pt>
                <c:pt idx="139">
                  <c:v>0.33019951198507247</c:v>
                </c:pt>
                <c:pt idx="140">
                  <c:v>0.30729006459550906</c:v>
                </c:pt>
                <c:pt idx="141">
                  <c:v>0.32279950008926978</c:v>
                </c:pt>
                <c:pt idx="142">
                  <c:v>0.28432086184306304</c:v>
                </c:pt>
                <c:pt idx="143">
                  <c:v>0.30273504273504276</c:v>
                </c:pt>
                <c:pt idx="144">
                  <c:v>0.27317232375979111</c:v>
                </c:pt>
                <c:pt idx="145">
                  <c:v>0.23747312717049776</c:v>
                </c:pt>
                <c:pt idx="146">
                  <c:v>0.31065826125201584</c:v>
                </c:pt>
                <c:pt idx="147">
                  <c:v>0.29735249070089709</c:v>
                </c:pt>
                <c:pt idx="148">
                  <c:v>0.30759773789033684</c:v>
                </c:pt>
                <c:pt idx="149">
                  <c:v>0.26907512324332278</c:v>
                </c:pt>
                <c:pt idx="150">
                  <c:v>0.28135356706785281</c:v>
                </c:pt>
                <c:pt idx="151">
                  <c:v>0.31619447359216507</c:v>
                </c:pt>
                <c:pt idx="152">
                  <c:v>0.25014577259475218</c:v>
                </c:pt>
                <c:pt idx="153">
                  <c:v>0.3031853560103776</c:v>
                </c:pt>
                <c:pt idx="154">
                  <c:v>0.3132078142695357</c:v>
                </c:pt>
                <c:pt idx="155">
                  <c:v>0.28717357910906299</c:v>
                </c:pt>
                <c:pt idx="156">
                  <c:v>0.28192236598890941</c:v>
                </c:pt>
                <c:pt idx="157">
                  <c:v>0.30864406779661019</c:v>
                </c:pt>
                <c:pt idx="158">
                  <c:v>0.26302988186240445</c:v>
                </c:pt>
                <c:pt idx="159">
                  <c:v>0.27162867344136227</c:v>
                </c:pt>
                <c:pt idx="160">
                  <c:v>0.33576906381131527</c:v>
                </c:pt>
                <c:pt idx="161">
                  <c:v>0.32336996336996338</c:v>
                </c:pt>
                <c:pt idx="162">
                  <c:v>0.31390507910074938</c:v>
                </c:pt>
                <c:pt idx="163">
                  <c:v>0.28857657657657659</c:v>
                </c:pt>
                <c:pt idx="164">
                  <c:v>0.29395197153868957</c:v>
                </c:pt>
                <c:pt idx="165">
                  <c:v>0.27781546811397556</c:v>
                </c:pt>
                <c:pt idx="166">
                  <c:v>0.27171888915877257</c:v>
                </c:pt>
                <c:pt idx="167">
                  <c:v>0.36473506774378223</c:v>
                </c:pt>
                <c:pt idx="168">
                  <c:v>0.33500938589434165</c:v>
                </c:pt>
                <c:pt idx="169">
                  <c:v>0.33714466203411242</c:v>
                </c:pt>
                <c:pt idx="170">
                  <c:v>0.30371585980541554</c:v>
                </c:pt>
                <c:pt idx="171">
                  <c:v>0.34958236341229632</c:v>
                </c:pt>
                <c:pt idx="172">
                  <c:v>0.37101449275362319</c:v>
                </c:pt>
                <c:pt idx="173">
                  <c:v>0.30601973021944834</c:v>
                </c:pt>
                <c:pt idx="174">
                  <c:v>0.3823132191669818</c:v>
                </c:pt>
                <c:pt idx="175">
                  <c:v>0.36425495720589018</c:v>
                </c:pt>
                <c:pt idx="176">
                  <c:v>0.36054421768707484</c:v>
                </c:pt>
                <c:pt idx="177">
                  <c:v>0.34013292433537834</c:v>
                </c:pt>
                <c:pt idx="178">
                  <c:v>0.32963815101443211</c:v>
                </c:pt>
                <c:pt idx="179">
                  <c:v>0.32645575424117379</c:v>
                </c:pt>
                <c:pt idx="180">
                  <c:v>0.31502782931354362</c:v>
                </c:pt>
                <c:pt idx="181">
                  <c:v>0.36895897211271717</c:v>
                </c:pt>
                <c:pt idx="182">
                  <c:v>0.36430997221364619</c:v>
                </c:pt>
                <c:pt idx="183">
                  <c:v>0.36658993407973212</c:v>
                </c:pt>
                <c:pt idx="184">
                  <c:v>0.29962339944765254</c:v>
                </c:pt>
                <c:pt idx="185">
                  <c:v>0.41661910740783015</c:v>
                </c:pt>
                <c:pt idx="186">
                  <c:v>0.31157407407407406</c:v>
                </c:pt>
                <c:pt idx="187">
                  <c:v>0.29706609637104858</c:v>
                </c:pt>
                <c:pt idx="188">
                  <c:v>0.36240115825815794</c:v>
                </c:pt>
                <c:pt idx="189">
                  <c:v>0.35478737997256515</c:v>
                </c:pt>
                <c:pt idx="190">
                  <c:v>0.31299652432969216</c:v>
                </c:pt>
                <c:pt idx="191">
                  <c:v>0.37679298989786236</c:v>
                </c:pt>
                <c:pt idx="192">
                  <c:v>0.33695509883492603</c:v>
                </c:pt>
                <c:pt idx="193">
                  <c:v>0.29411764705882354</c:v>
                </c:pt>
                <c:pt idx="194">
                  <c:v>0.28025434620848272</c:v>
                </c:pt>
                <c:pt idx="195">
                  <c:v>0.35506946497191844</c:v>
                </c:pt>
                <c:pt idx="196">
                  <c:v>0.34252044561787626</c:v>
                </c:pt>
                <c:pt idx="197">
                  <c:v>0.32525728987993141</c:v>
                </c:pt>
                <c:pt idx="198">
                  <c:v>0.28250389905004963</c:v>
                </c:pt>
                <c:pt idx="199">
                  <c:v>0.27770215083038391</c:v>
                </c:pt>
                <c:pt idx="200">
                  <c:v>0.24627395315826828</c:v>
                </c:pt>
                <c:pt idx="201">
                  <c:v>0.23011296310925033</c:v>
                </c:pt>
                <c:pt idx="202">
                  <c:v>0.30584013050570963</c:v>
                </c:pt>
                <c:pt idx="203">
                  <c:v>0.30276631514595753</c:v>
                </c:pt>
                <c:pt idx="204">
                  <c:v>0.24787111622554661</c:v>
                </c:pt>
                <c:pt idx="205">
                  <c:v>0.2582684824902724</c:v>
                </c:pt>
                <c:pt idx="206">
                  <c:v>0.2752006263456645</c:v>
                </c:pt>
                <c:pt idx="207">
                  <c:v>0.1193298969072165</c:v>
                </c:pt>
                <c:pt idx="208">
                  <c:v>0.20924061500039023</c:v>
                </c:pt>
                <c:pt idx="209">
                  <c:v>0.26181791654508318</c:v>
                </c:pt>
                <c:pt idx="210">
                  <c:v>0.2511578776306167</c:v>
                </c:pt>
                <c:pt idx="211">
                  <c:v>0.23905908096280087</c:v>
                </c:pt>
                <c:pt idx="212">
                  <c:v>0.25662281492160749</c:v>
                </c:pt>
                <c:pt idx="213">
                  <c:v>0.22325293753865183</c:v>
                </c:pt>
                <c:pt idx="214">
                  <c:v>0.18772277227722772</c:v>
                </c:pt>
                <c:pt idx="215">
                  <c:v>9.8298196596393189E-2</c:v>
                </c:pt>
                <c:pt idx="216">
                  <c:v>0.18037112700034047</c:v>
                </c:pt>
                <c:pt idx="217">
                  <c:v>0.25009726869504317</c:v>
                </c:pt>
                <c:pt idx="218">
                  <c:v>0.24021739130434783</c:v>
                </c:pt>
                <c:pt idx="219">
                  <c:v>0.20357963246554364</c:v>
                </c:pt>
                <c:pt idx="220">
                  <c:v>0.1739850869925435</c:v>
                </c:pt>
                <c:pt idx="221">
                  <c:v>0.12860310421286031</c:v>
                </c:pt>
                <c:pt idx="222">
                  <c:v>0.12254943562759908</c:v>
                </c:pt>
                <c:pt idx="223">
                  <c:v>0.18634510280211677</c:v>
                </c:pt>
                <c:pt idx="224">
                  <c:v>0.15004344887515689</c:v>
                </c:pt>
                <c:pt idx="225">
                  <c:v>0.16302071212473818</c:v>
                </c:pt>
                <c:pt idx="226">
                  <c:v>0.14818202606906014</c:v>
                </c:pt>
                <c:pt idx="227">
                  <c:v>0.13369537108869925</c:v>
                </c:pt>
                <c:pt idx="228">
                  <c:v>0.10707547169811321</c:v>
                </c:pt>
                <c:pt idx="229">
                  <c:v>0.11831062178503746</c:v>
                </c:pt>
                <c:pt idx="230">
                  <c:v>0.15319108219309158</c:v>
                </c:pt>
                <c:pt idx="231">
                  <c:v>0.13618246235606732</c:v>
                </c:pt>
                <c:pt idx="232">
                  <c:v>0.13744372186093046</c:v>
                </c:pt>
                <c:pt idx="233">
                  <c:v>0.12406153846153846</c:v>
                </c:pt>
                <c:pt idx="234">
                  <c:v>0.115748963883955</c:v>
                </c:pt>
                <c:pt idx="235">
                  <c:v>0.12799043062200957</c:v>
                </c:pt>
                <c:pt idx="236">
                  <c:v>9.8579464200591091E-2</c:v>
                </c:pt>
                <c:pt idx="237">
                  <c:v>0.14669738863287252</c:v>
                </c:pt>
                <c:pt idx="238">
                  <c:v>0.11016163904046124</c:v>
                </c:pt>
                <c:pt idx="239">
                  <c:v>0.10938065918145599</c:v>
                </c:pt>
                <c:pt idx="240">
                  <c:v>9.3118756936736963E-2</c:v>
                </c:pt>
                <c:pt idx="241">
                  <c:v>0.11686232657417289</c:v>
                </c:pt>
                <c:pt idx="242">
                  <c:v>8.4019769357495888E-2</c:v>
                </c:pt>
                <c:pt idx="243">
                  <c:v>7.1078431372549017E-2</c:v>
                </c:pt>
                <c:pt idx="244">
                  <c:v>0.10936469553748077</c:v>
                </c:pt>
                <c:pt idx="245">
                  <c:v>8.3927964661909618E-2</c:v>
                </c:pt>
                <c:pt idx="246">
                  <c:v>8.1307088640164671E-2</c:v>
                </c:pt>
                <c:pt idx="247">
                  <c:v>7.6520438683948158E-2</c:v>
                </c:pt>
                <c:pt idx="248">
                  <c:v>6.6613798572561458E-2</c:v>
                </c:pt>
                <c:pt idx="249">
                  <c:v>6.1603823685608072E-2</c:v>
                </c:pt>
                <c:pt idx="250">
                  <c:v>5.0180754002410052E-2</c:v>
                </c:pt>
                <c:pt idx="251">
                  <c:v>8.8632218844984803E-2</c:v>
                </c:pt>
                <c:pt idx="252">
                  <c:v>5.9270516717325229E-2</c:v>
                </c:pt>
                <c:pt idx="253">
                  <c:v>6.5557451649601819E-2</c:v>
                </c:pt>
                <c:pt idx="254">
                  <c:v>5.2817345266607842E-2</c:v>
                </c:pt>
                <c:pt idx="255">
                  <c:v>5.1200462829042524E-2</c:v>
                </c:pt>
                <c:pt idx="256">
                  <c:v>3.3935413245758071E-2</c:v>
                </c:pt>
                <c:pt idx="257">
                  <c:v>2.8558907311372433E-2</c:v>
                </c:pt>
                <c:pt idx="258">
                  <c:v>5.1517363645844194E-2</c:v>
                </c:pt>
                <c:pt idx="259">
                  <c:v>3.1674208144796379E-2</c:v>
                </c:pt>
                <c:pt idx="260">
                  <c:v>4.14645595368486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498-4229-AE8A-17F13C3C90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6642048252093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315985130111527E-2</c:v>
                </c:pt>
                <c:pt idx="1">
                  <c:v>3.6967711745437531E-2</c:v>
                </c:pt>
                <c:pt idx="2">
                  <c:v>3.4599473486273034E-2</c:v>
                </c:pt>
                <c:pt idx="3">
                  <c:v>4.6070460704607047E-2</c:v>
                </c:pt>
                <c:pt idx="4">
                  <c:v>5.7627118644067797E-2</c:v>
                </c:pt>
                <c:pt idx="5">
                  <c:v>3.1601731601731603E-2</c:v>
                </c:pt>
                <c:pt idx="6">
                  <c:v>4.4708029197080293E-2</c:v>
                </c:pt>
                <c:pt idx="7">
                  <c:v>5.5203619909502261E-2</c:v>
                </c:pt>
                <c:pt idx="8">
                  <c:v>6.3970393867301079E-2</c:v>
                </c:pt>
                <c:pt idx="9">
                  <c:v>5.5286800276434005E-2</c:v>
                </c:pt>
                <c:pt idx="10">
                  <c:v>8.730670103092783E-2</c:v>
                </c:pt>
                <c:pt idx="11">
                  <c:v>8.0635308491142338E-2</c:v>
                </c:pt>
                <c:pt idx="12">
                  <c:v>4.1802252816020027E-2</c:v>
                </c:pt>
                <c:pt idx="13">
                  <c:v>6.3498566161409253E-2</c:v>
                </c:pt>
                <c:pt idx="14">
                  <c:v>8.534095549203756E-2</c:v>
                </c:pt>
                <c:pt idx="15">
                  <c:v>0.10747004933051445</c:v>
                </c:pt>
                <c:pt idx="16">
                  <c:v>7.6063049853372436E-2</c:v>
                </c:pt>
                <c:pt idx="17">
                  <c:v>9.0885211452587336E-2</c:v>
                </c:pt>
                <c:pt idx="18">
                  <c:v>7.0202212895841276E-2</c:v>
                </c:pt>
                <c:pt idx="19">
                  <c:v>6.8147509165408668E-2</c:v>
                </c:pt>
                <c:pt idx="20">
                  <c:v>8.3256922794791854E-2</c:v>
                </c:pt>
                <c:pt idx="21">
                  <c:v>8.4652443220922233E-2</c:v>
                </c:pt>
                <c:pt idx="22">
                  <c:v>0.10772323672306919</c:v>
                </c:pt>
                <c:pt idx="23">
                  <c:v>0.10943744236089763</c:v>
                </c:pt>
                <c:pt idx="24">
                  <c:v>0.1166296021744502</c:v>
                </c:pt>
                <c:pt idx="25">
                  <c:v>0.10913059294288832</c:v>
                </c:pt>
                <c:pt idx="26">
                  <c:v>8.4308510638297876E-2</c:v>
                </c:pt>
                <c:pt idx="27">
                  <c:v>0.10145538915840539</c:v>
                </c:pt>
                <c:pt idx="28">
                  <c:v>0.12199807877041306</c:v>
                </c:pt>
                <c:pt idx="29">
                  <c:v>0.13086747387626471</c:v>
                </c:pt>
                <c:pt idx="30">
                  <c:v>0.15253378378378379</c:v>
                </c:pt>
                <c:pt idx="31">
                  <c:v>0.15292517006802722</c:v>
                </c:pt>
                <c:pt idx="32">
                  <c:v>0.20057803468208094</c:v>
                </c:pt>
                <c:pt idx="33">
                  <c:v>0.17316431475723512</c:v>
                </c:pt>
                <c:pt idx="34">
                  <c:v>0.16227758007117438</c:v>
                </c:pt>
                <c:pt idx="35">
                  <c:v>0.19303135888501743</c:v>
                </c:pt>
                <c:pt idx="36">
                  <c:v>0.18859138533178113</c:v>
                </c:pt>
                <c:pt idx="37">
                  <c:v>0.26262482168330958</c:v>
                </c:pt>
                <c:pt idx="38">
                  <c:v>0.22769672327194451</c:v>
                </c:pt>
                <c:pt idx="39">
                  <c:v>0.22191400832177532</c:v>
                </c:pt>
                <c:pt idx="40">
                  <c:v>0.17905675459632295</c:v>
                </c:pt>
                <c:pt idx="41">
                  <c:v>0.21178746837326984</c:v>
                </c:pt>
                <c:pt idx="42">
                  <c:v>0.22121688958825073</c:v>
                </c:pt>
                <c:pt idx="43">
                  <c:v>0.20898614528033146</c:v>
                </c:pt>
                <c:pt idx="44">
                  <c:v>0.23361101050344077</c:v>
                </c:pt>
                <c:pt idx="45">
                  <c:v>0.23069990988284769</c:v>
                </c:pt>
                <c:pt idx="46">
                  <c:v>0.23637176050044684</c:v>
                </c:pt>
                <c:pt idx="47">
                  <c:v>0.22368798394034986</c:v>
                </c:pt>
                <c:pt idx="48">
                  <c:v>0.23071232297611499</c:v>
                </c:pt>
                <c:pt idx="49">
                  <c:v>0.26368756347521005</c:v>
                </c:pt>
                <c:pt idx="50">
                  <c:v>0.25176778699257968</c:v>
                </c:pt>
                <c:pt idx="51">
                  <c:v>0.26877923912084034</c:v>
                </c:pt>
                <c:pt idx="52">
                  <c:v>0.25186511489107727</c:v>
                </c:pt>
                <c:pt idx="53">
                  <c:v>0.27591650587616207</c:v>
                </c:pt>
                <c:pt idx="54">
                  <c:v>0.25097667811057178</c:v>
                </c:pt>
                <c:pt idx="55">
                  <c:v>0.26655348047538202</c:v>
                </c:pt>
                <c:pt idx="56">
                  <c:v>0.2450840695354802</c:v>
                </c:pt>
                <c:pt idx="57">
                  <c:v>0.23357339735040455</c:v>
                </c:pt>
                <c:pt idx="58">
                  <c:v>0.23374506776462514</c:v>
                </c:pt>
                <c:pt idx="59">
                  <c:v>0.24833402748854644</c:v>
                </c:pt>
                <c:pt idx="60">
                  <c:v>0.2746955345060893</c:v>
                </c:pt>
                <c:pt idx="61">
                  <c:v>0.22052318968785542</c:v>
                </c:pt>
                <c:pt idx="62">
                  <c:v>0.2213855421686747</c:v>
                </c:pt>
                <c:pt idx="63">
                  <c:v>0.26778929188255612</c:v>
                </c:pt>
                <c:pt idx="64">
                  <c:v>0.23892763336654288</c:v>
                </c:pt>
                <c:pt idx="65">
                  <c:v>0.24672825250192457</c:v>
                </c:pt>
                <c:pt idx="66">
                  <c:v>0.26069246435845211</c:v>
                </c:pt>
                <c:pt idx="67">
                  <c:v>0.2314068616163942</c:v>
                </c:pt>
                <c:pt idx="68">
                  <c:v>0.1848913418420145</c:v>
                </c:pt>
                <c:pt idx="69">
                  <c:v>0.20035627226701669</c:v>
                </c:pt>
                <c:pt idx="70">
                  <c:v>0.20460927665343276</c:v>
                </c:pt>
                <c:pt idx="71">
                  <c:v>0.20773529089514628</c:v>
                </c:pt>
                <c:pt idx="72">
                  <c:v>0.20517395182872436</c:v>
                </c:pt>
                <c:pt idx="73">
                  <c:v>0.23589963542783615</c:v>
                </c:pt>
                <c:pt idx="74">
                  <c:v>0.21573795180722891</c:v>
                </c:pt>
                <c:pt idx="75">
                  <c:v>0.15766155176140048</c:v>
                </c:pt>
                <c:pt idx="76">
                  <c:v>0.22078416444613627</c:v>
                </c:pt>
                <c:pt idx="77">
                  <c:v>0.17854857289133497</c:v>
                </c:pt>
                <c:pt idx="78">
                  <c:v>0.20877659574468085</c:v>
                </c:pt>
                <c:pt idx="79">
                  <c:v>0.21147002463728443</c:v>
                </c:pt>
                <c:pt idx="80">
                  <c:v>0.20170136556973361</c:v>
                </c:pt>
                <c:pt idx="81">
                  <c:v>0.21221492075763432</c:v>
                </c:pt>
                <c:pt idx="82">
                  <c:v>0.13032528856243442</c:v>
                </c:pt>
                <c:pt idx="83">
                  <c:v>0.19541943352757826</c:v>
                </c:pt>
                <c:pt idx="84">
                  <c:v>0.18092151613357757</c:v>
                </c:pt>
                <c:pt idx="85">
                  <c:v>0.1637848222862632</c:v>
                </c:pt>
                <c:pt idx="86">
                  <c:v>0.17507535054383436</c:v>
                </c:pt>
                <c:pt idx="87">
                  <c:v>0.22033898305084745</c:v>
                </c:pt>
                <c:pt idx="88">
                  <c:v>0.19606903163950143</c:v>
                </c:pt>
                <c:pt idx="89">
                  <c:v>0.11083650190114068</c:v>
                </c:pt>
                <c:pt idx="90">
                  <c:v>0.18857005063901616</c:v>
                </c:pt>
                <c:pt idx="91">
                  <c:v>0.17621920563097035</c:v>
                </c:pt>
                <c:pt idx="92">
                  <c:v>0.19588194921070692</c:v>
                </c:pt>
                <c:pt idx="93">
                  <c:v>0.19785458879618595</c:v>
                </c:pt>
                <c:pt idx="94">
                  <c:v>0.26809594565909572</c:v>
                </c:pt>
                <c:pt idx="95">
                  <c:v>0.16282963583089158</c:v>
                </c:pt>
                <c:pt idx="96">
                  <c:v>0.12813908564069543</c:v>
                </c:pt>
                <c:pt idx="97">
                  <c:v>0.18708949096880131</c:v>
                </c:pt>
                <c:pt idx="98">
                  <c:v>0.19637585259085819</c:v>
                </c:pt>
                <c:pt idx="99">
                  <c:v>0.20262836185819072</c:v>
                </c:pt>
                <c:pt idx="100">
                  <c:v>0.18590316240843308</c:v>
                </c:pt>
                <c:pt idx="101">
                  <c:v>0.20853384664741739</c:v>
                </c:pt>
                <c:pt idx="102">
                  <c:v>0.21650124069478907</c:v>
                </c:pt>
                <c:pt idx="103">
                  <c:v>0.13686447347709743</c:v>
                </c:pt>
                <c:pt idx="104">
                  <c:v>0.19535215736040609</c:v>
                </c:pt>
                <c:pt idx="105">
                  <c:v>0.1818658673660547</c:v>
                </c:pt>
                <c:pt idx="106">
                  <c:v>0.17311982154238367</c:v>
                </c:pt>
                <c:pt idx="107">
                  <c:v>0.17741176470588235</c:v>
                </c:pt>
                <c:pt idx="108">
                  <c:v>0.17560761988176046</c:v>
                </c:pt>
                <c:pt idx="109">
                  <c:v>0.18583106267029972</c:v>
                </c:pt>
                <c:pt idx="110">
                  <c:v>0.14235040995522474</c:v>
                </c:pt>
                <c:pt idx="111">
                  <c:v>0.16743058848322007</c:v>
                </c:pt>
                <c:pt idx="112">
                  <c:v>0.18055617551220818</c:v>
                </c:pt>
                <c:pt idx="113">
                  <c:v>0.2336776456831027</c:v>
                </c:pt>
                <c:pt idx="114">
                  <c:v>0.21567436208991494</c:v>
                </c:pt>
                <c:pt idx="115">
                  <c:v>0.18540644335395776</c:v>
                </c:pt>
                <c:pt idx="116">
                  <c:v>0.19289777624547491</c:v>
                </c:pt>
                <c:pt idx="117">
                  <c:v>0.19926408151712427</c:v>
                </c:pt>
                <c:pt idx="118">
                  <c:v>0.26686712032494592</c:v>
                </c:pt>
                <c:pt idx="119">
                  <c:v>0.26723470178156467</c:v>
                </c:pt>
                <c:pt idx="120">
                  <c:v>0.29885722551714161</c:v>
                </c:pt>
                <c:pt idx="121">
                  <c:v>0.35316946959896506</c:v>
                </c:pt>
                <c:pt idx="122">
                  <c:v>0.20386389850057671</c:v>
                </c:pt>
                <c:pt idx="123">
                  <c:v>0.25709033613445376</c:v>
                </c:pt>
                <c:pt idx="124">
                  <c:v>0.19472884926272474</c:v>
                </c:pt>
                <c:pt idx="125">
                  <c:v>0.2464131289308176</c:v>
                </c:pt>
                <c:pt idx="126">
                  <c:v>0.28626957814107695</c:v>
                </c:pt>
                <c:pt idx="127">
                  <c:v>0.25894914301770161</c:v>
                </c:pt>
                <c:pt idx="128">
                  <c:v>0.22377136752136753</c:v>
                </c:pt>
                <c:pt idx="129">
                  <c:v>0.28085269094732818</c:v>
                </c:pt>
                <c:pt idx="130">
                  <c:v>0.23433410315627407</c:v>
                </c:pt>
                <c:pt idx="131">
                  <c:v>0.15421166306695464</c:v>
                </c:pt>
                <c:pt idx="132">
                  <c:v>0.2042910447761194</c:v>
                </c:pt>
                <c:pt idx="133">
                  <c:v>0.2259080910766304</c:v>
                </c:pt>
                <c:pt idx="134">
                  <c:v>0.17729208416833667</c:v>
                </c:pt>
                <c:pt idx="135">
                  <c:v>0.20707755824240637</c:v>
                </c:pt>
                <c:pt idx="136">
                  <c:v>0.23979080894625571</c:v>
                </c:pt>
                <c:pt idx="137">
                  <c:v>0.22315967095549463</c:v>
                </c:pt>
                <c:pt idx="138">
                  <c:v>0.15935648676558509</c:v>
                </c:pt>
                <c:pt idx="139">
                  <c:v>0.22052644587246664</c:v>
                </c:pt>
                <c:pt idx="140">
                  <c:v>0.20362352627722641</c:v>
                </c:pt>
                <c:pt idx="141">
                  <c:v>0.19551354190111786</c:v>
                </c:pt>
                <c:pt idx="142">
                  <c:v>0.19163932434074615</c:v>
                </c:pt>
                <c:pt idx="143">
                  <c:v>0.22294636795655126</c:v>
                </c:pt>
                <c:pt idx="144">
                  <c:v>0.20568561872909699</c:v>
                </c:pt>
                <c:pt idx="145">
                  <c:v>0.14779013242442868</c:v>
                </c:pt>
                <c:pt idx="146">
                  <c:v>0.22110269729019338</c:v>
                </c:pt>
                <c:pt idx="147">
                  <c:v>0.18365378819842082</c:v>
                </c:pt>
                <c:pt idx="148">
                  <c:v>0.21909754197067366</c:v>
                </c:pt>
                <c:pt idx="149">
                  <c:v>0.19023588780659548</c:v>
                </c:pt>
                <c:pt idx="150">
                  <c:v>0.20378619153674832</c:v>
                </c:pt>
                <c:pt idx="151">
                  <c:v>0.20268893868404969</c:v>
                </c:pt>
                <c:pt idx="152">
                  <c:v>0.14899215830745749</c:v>
                </c:pt>
                <c:pt idx="153">
                  <c:v>0.19901513331731924</c:v>
                </c:pt>
                <c:pt idx="154">
                  <c:v>0.21611485496630531</c:v>
                </c:pt>
                <c:pt idx="155">
                  <c:v>0.19247644857400956</c:v>
                </c:pt>
                <c:pt idx="156">
                  <c:v>0.18808918995201807</c:v>
                </c:pt>
                <c:pt idx="157">
                  <c:v>0.23606482013561658</c:v>
                </c:pt>
                <c:pt idx="158">
                  <c:v>0.17771933120420816</c:v>
                </c:pt>
                <c:pt idx="159">
                  <c:v>0.16440614860911654</c:v>
                </c:pt>
                <c:pt idx="160">
                  <c:v>0.21563942438229705</c:v>
                </c:pt>
                <c:pt idx="161">
                  <c:v>0.20482489365421597</c:v>
                </c:pt>
                <c:pt idx="162">
                  <c:v>0.20480341129993102</c:v>
                </c:pt>
                <c:pt idx="163">
                  <c:v>0.18903486889517157</c:v>
                </c:pt>
                <c:pt idx="164">
                  <c:v>0.21667027964448299</c:v>
                </c:pt>
                <c:pt idx="165">
                  <c:v>0.19883040935672514</c:v>
                </c:pt>
                <c:pt idx="166">
                  <c:v>0.17301731126901618</c:v>
                </c:pt>
                <c:pt idx="167">
                  <c:v>0.2332222277498632</c:v>
                </c:pt>
                <c:pt idx="168">
                  <c:v>0.20153639925757888</c:v>
                </c:pt>
                <c:pt idx="169">
                  <c:v>0.21589458092854588</c:v>
                </c:pt>
                <c:pt idx="170">
                  <c:v>0.19128538325230587</c:v>
                </c:pt>
                <c:pt idx="171">
                  <c:v>0.24687216681776972</c:v>
                </c:pt>
                <c:pt idx="172">
                  <c:v>0.22603146334223806</c:v>
                </c:pt>
                <c:pt idx="173">
                  <c:v>0.17939202526648243</c:v>
                </c:pt>
                <c:pt idx="174">
                  <c:v>0.24026478159604461</c:v>
                </c:pt>
                <c:pt idx="175">
                  <c:v>0.20286563712940789</c:v>
                </c:pt>
                <c:pt idx="176">
                  <c:v>0.22248702017192953</c:v>
                </c:pt>
                <c:pt idx="177">
                  <c:v>0.20444321679425459</c:v>
                </c:pt>
                <c:pt idx="178">
                  <c:v>0.21848675722850422</c:v>
                </c:pt>
                <c:pt idx="179">
                  <c:v>0.21272907379891035</c:v>
                </c:pt>
                <c:pt idx="180">
                  <c:v>0.17214965029789439</c:v>
                </c:pt>
                <c:pt idx="181">
                  <c:v>0.22184375343368862</c:v>
                </c:pt>
                <c:pt idx="182">
                  <c:v>0.20989341350095655</c:v>
                </c:pt>
                <c:pt idx="183">
                  <c:v>0.19201402415270744</c:v>
                </c:pt>
                <c:pt idx="184">
                  <c:v>0.16817042606516291</c:v>
                </c:pt>
                <c:pt idx="185">
                  <c:v>0.26294172349659023</c:v>
                </c:pt>
                <c:pt idx="186">
                  <c:v>0.16923468738061886</c:v>
                </c:pt>
                <c:pt idx="187">
                  <c:v>0.12664133222108939</c:v>
                </c:pt>
                <c:pt idx="188">
                  <c:v>0.17516210374639771</c:v>
                </c:pt>
                <c:pt idx="189">
                  <c:v>0.16143751864002387</c:v>
                </c:pt>
                <c:pt idx="190">
                  <c:v>0.12305507532724129</c:v>
                </c:pt>
                <c:pt idx="191">
                  <c:v>0.16524008018582748</c:v>
                </c:pt>
                <c:pt idx="192">
                  <c:v>0.21859426018216188</c:v>
                </c:pt>
                <c:pt idx="193">
                  <c:v>0.15485498108448928</c:v>
                </c:pt>
                <c:pt idx="194">
                  <c:v>0.11834272350377378</c:v>
                </c:pt>
                <c:pt idx="195">
                  <c:v>0.15498687285421656</c:v>
                </c:pt>
                <c:pt idx="196">
                  <c:v>0.13727344846524683</c:v>
                </c:pt>
                <c:pt idx="197">
                  <c:v>0.13070748431965162</c:v>
                </c:pt>
                <c:pt idx="198">
                  <c:v>0.1326392694063927</c:v>
                </c:pt>
                <c:pt idx="199">
                  <c:v>0.20511164421479977</c:v>
                </c:pt>
                <c:pt idx="200">
                  <c:v>0.12522023659702997</c:v>
                </c:pt>
                <c:pt idx="201">
                  <c:v>9.5266990291262135E-2</c:v>
                </c:pt>
                <c:pt idx="202">
                  <c:v>0.12965199884958298</c:v>
                </c:pt>
                <c:pt idx="203">
                  <c:v>0.10700171255434067</c:v>
                </c:pt>
                <c:pt idx="204">
                  <c:v>0.10110924369747899</c:v>
                </c:pt>
                <c:pt idx="205">
                  <c:v>0.11879259980525804</c:v>
                </c:pt>
                <c:pt idx="206">
                  <c:v>0.18470281790196544</c:v>
                </c:pt>
                <c:pt idx="207">
                  <c:v>0.12559890485968514</c:v>
                </c:pt>
                <c:pt idx="208">
                  <c:v>8.1589339924240389E-2</c:v>
                </c:pt>
                <c:pt idx="209">
                  <c:v>0.10733953517314333</c:v>
                </c:pt>
                <c:pt idx="210">
                  <c:v>9.1718817257706697E-2</c:v>
                </c:pt>
                <c:pt idx="211">
                  <c:v>7.4187207016482681E-2</c:v>
                </c:pt>
                <c:pt idx="212">
                  <c:v>0.14681662984535046</c:v>
                </c:pt>
                <c:pt idx="213">
                  <c:v>0.15638314659933722</c:v>
                </c:pt>
                <c:pt idx="214">
                  <c:v>0.14362439362439364</c:v>
                </c:pt>
                <c:pt idx="215">
                  <c:v>8.9539136795903432E-2</c:v>
                </c:pt>
                <c:pt idx="216">
                  <c:v>5.2357139804248408E-2</c:v>
                </c:pt>
                <c:pt idx="217">
                  <c:v>7.7642878294344089E-2</c:v>
                </c:pt>
                <c:pt idx="218">
                  <c:v>6.6830965497245584E-2</c:v>
                </c:pt>
                <c:pt idx="219">
                  <c:v>8.1683960323627555E-2</c:v>
                </c:pt>
                <c:pt idx="220">
                  <c:v>0.12296486718080549</c:v>
                </c:pt>
                <c:pt idx="221">
                  <c:v>6.6079295154185022E-2</c:v>
                </c:pt>
                <c:pt idx="222">
                  <c:v>4.839201975637504E-2</c:v>
                </c:pt>
                <c:pt idx="223">
                  <c:v>6.4612048939135816E-2</c:v>
                </c:pt>
                <c:pt idx="224">
                  <c:v>5.3146754302272163E-2</c:v>
                </c:pt>
                <c:pt idx="225">
                  <c:v>4.7070699517702923E-2</c:v>
                </c:pt>
                <c:pt idx="226">
                  <c:v>6.8390199909815125E-2</c:v>
                </c:pt>
                <c:pt idx="227">
                  <c:v>9.913202375513934E-2</c:v>
                </c:pt>
                <c:pt idx="228">
                  <c:v>5.5807158509861211E-2</c:v>
                </c:pt>
                <c:pt idx="229">
                  <c:v>4.133819332598683E-2</c:v>
                </c:pt>
                <c:pt idx="230">
                  <c:v>4.7486672989501912E-2</c:v>
                </c:pt>
                <c:pt idx="231">
                  <c:v>4.3153737454255589E-2</c:v>
                </c:pt>
                <c:pt idx="232">
                  <c:v>3.7883474653371663E-2</c:v>
                </c:pt>
                <c:pt idx="233">
                  <c:v>5.5561043065981829E-2</c:v>
                </c:pt>
                <c:pt idx="234">
                  <c:v>8.5387068715569725E-2</c:v>
                </c:pt>
                <c:pt idx="235">
                  <c:v>6.3514357053682899E-2</c:v>
                </c:pt>
                <c:pt idx="236">
                  <c:v>3.1612520816280451E-2</c:v>
                </c:pt>
                <c:pt idx="237">
                  <c:v>4.1598427775958076E-2</c:v>
                </c:pt>
                <c:pt idx="238">
                  <c:v>3.675232447470532E-2</c:v>
                </c:pt>
                <c:pt idx="239">
                  <c:v>3.220880681818182E-2</c:v>
                </c:pt>
                <c:pt idx="240">
                  <c:v>4.6116155065571408E-2</c:v>
                </c:pt>
                <c:pt idx="241">
                  <c:v>9.6941420425090727E-2</c:v>
                </c:pt>
                <c:pt idx="242">
                  <c:v>3.2752245113576335E-2</c:v>
                </c:pt>
                <c:pt idx="243">
                  <c:v>2.4596068745497583E-2</c:v>
                </c:pt>
                <c:pt idx="244">
                  <c:v>3.2419963215810969E-2</c:v>
                </c:pt>
                <c:pt idx="245">
                  <c:v>2.9121278140885984E-2</c:v>
                </c:pt>
                <c:pt idx="246">
                  <c:v>2.4536712964668608E-2</c:v>
                </c:pt>
                <c:pt idx="247">
                  <c:v>3.6901645013090942E-2</c:v>
                </c:pt>
                <c:pt idx="248">
                  <c:v>5.6212510711225364E-2</c:v>
                </c:pt>
                <c:pt idx="249">
                  <c:v>2.4939776108828113E-2</c:v>
                </c:pt>
                <c:pt idx="250">
                  <c:v>1.8384401114206129E-2</c:v>
                </c:pt>
                <c:pt idx="251">
                  <c:v>2.1021021021021023E-2</c:v>
                </c:pt>
                <c:pt idx="252">
                  <c:v>1.942631658825315E-2</c:v>
                </c:pt>
                <c:pt idx="253">
                  <c:v>1.8686983549389736E-2</c:v>
                </c:pt>
                <c:pt idx="254">
                  <c:v>2.2927328556806549E-2</c:v>
                </c:pt>
                <c:pt idx="255">
                  <c:v>4.1894353369763208E-2</c:v>
                </c:pt>
                <c:pt idx="256">
                  <c:v>1.6412490922294843E-2</c:v>
                </c:pt>
                <c:pt idx="257">
                  <c:v>1.1984082916898019E-2</c:v>
                </c:pt>
                <c:pt idx="258">
                  <c:v>1.5526619416515576E-2</c:v>
                </c:pt>
                <c:pt idx="259">
                  <c:v>1.3634459382259968E-2</c:v>
                </c:pt>
                <c:pt idx="260">
                  <c:v>1.280941665224164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1E1-459F-BA64-A768D1458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39</c:f>
              <c:numCache>
                <c:formatCode>m/d/yyyy</c:formatCode>
                <c:ptCount val="38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</c:numCache>
            </c:numRef>
          </c:cat>
          <c:val>
            <c:numRef>
              <c:f>List1!$B$2:$B$39</c:f>
              <c:numCache>
                <c:formatCode>General</c:formatCode>
                <c:ptCount val="38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39</c:f>
              <c:numCache>
                <c:formatCode>m/d/yyyy</c:formatCode>
                <c:ptCount val="38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</c:numCache>
            </c:numRef>
          </c:cat>
          <c:val>
            <c:numRef>
              <c:f>List1!$C$2:$C$39</c:f>
              <c:numCache>
                <c:formatCode>General</c:formatCode>
                <c:ptCount val="38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7773224572899825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223.52986803276107</c:v>
                </c:pt>
                <c:pt idx="1">
                  <c:v>224.23500957229658</c:v>
                </c:pt>
                <c:pt idx="2">
                  <c:v>247.32839499208498</c:v>
                </c:pt>
                <c:pt idx="3">
                  <c:v>264.42807732582145</c:v>
                </c:pt>
                <c:pt idx="4">
                  <c:v>334.76594589448996</c:v>
                </c:pt>
                <c:pt idx="5">
                  <c:v>441.77117451900568</c:v>
                </c:pt>
                <c:pt idx="6">
                  <c:v>450.76172914808365</c:v>
                </c:pt>
                <c:pt idx="7">
                  <c:v>379.5424336549957</c:v>
                </c:pt>
                <c:pt idx="8">
                  <c:v>333.88451897007053</c:v>
                </c:pt>
                <c:pt idx="9">
                  <c:v>276.59176888280922</c:v>
                </c:pt>
                <c:pt idx="10">
                  <c:v>198.32105799436607</c:v>
                </c:pt>
                <c:pt idx="11">
                  <c:v>152.13428715478926</c:v>
                </c:pt>
                <c:pt idx="12">
                  <c:v>138.73659790361432</c:v>
                </c:pt>
                <c:pt idx="13">
                  <c:v>105.94751631521245</c:v>
                </c:pt>
                <c:pt idx="14">
                  <c:v>94.841537067527952</c:v>
                </c:pt>
                <c:pt idx="15">
                  <c:v>77.036713194255981</c:v>
                </c:pt>
                <c:pt idx="16">
                  <c:v>58.174177011680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419.20726942662509</c:v>
                </c:pt>
                <c:pt idx="1">
                  <c:v>397.70304922341023</c:v>
                </c:pt>
                <c:pt idx="2">
                  <c:v>446.96271643310013</c:v>
                </c:pt>
                <c:pt idx="3">
                  <c:v>488.47086240674747</c:v>
                </c:pt>
                <c:pt idx="4">
                  <c:v>640.37567372596891</c:v>
                </c:pt>
                <c:pt idx="5">
                  <c:v>780.90325226325695</c:v>
                </c:pt>
                <c:pt idx="6">
                  <c:v>726.8926526830893</c:v>
                </c:pt>
                <c:pt idx="7">
                  <c:v>564.73582940652125</c:v>
                </c:pt>
                <c:pt idx="8">
                  <c:v>451.71364880357783</c:v>
                </c:pt>
                <c:pt idx="9">
                  <c:v>358.94544304319732</c:v>
                </c:pt>
                <c:pt idx="10">
                  <c:v>253.17468553203574</c:v>
                </c:pt>
                <c:pt idx="11">
                  <c:v>198.91403687973769</c:v>
                </c:pt>
                <c:pt idx="12">
                  <c:v>199.16408595186812</c:v>
                </c:pt>
                <c:pt idx="13">
                  <c:v>172.65888430604511</c:v>
                </c:pt>
                <c:pt idx="14">
                  <c:v>146.77880534054813</c:v>
                </c:pt>
                <c:pt idx="15">
                  <c:v>117.89813750948628</c:v>
                </c:pt>
                <c:pt idx="16">
                  <c:v>76.765065144034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365.6803694996716</c:v>
                </c:pt>
                <c:pt idx="1">
                  <c:v>356.66586801346494</c:v>
                </c:pt>
                <c:pt idx="2">
                  <c:v>386.67466901360018</c:v>
                </c:pt>
                <c:pt idx="3">
                  <c:v>412.88789044059581</c:v>
                </c:pt>
                <c:pt idx="4">
                  <c:v>523.19692178496643</c:v>
                </c:pt>
                <c:pt idx="5">
                  <c:v>685.57656039834637</c:v>
                </c:pt>
                <c:pt idx="6">
                  <c:v>723.05790868310021</c:v>
                </c:pt>
                <c:pt idx="7">
                  <c:v>702.06360916917163</c:v>
                </c:pt>
                <c:pt idx="8">
                  <c:v>607.52995542566259</c:v>
                </c:pt>
                <c:pt idx="9">
                  <c:v>456.53705553170158</c:v>
                </c:pt>
                <c:pt idx="10">
                  <c:v>339.58575993433664</c:v>
                </c:pt>
                <c:pt idx="11">
                  <c:v>260.82748379168919</c:v>
                </c:pt>
                <c:pt idx="12">
                  <c:v>231.41174209985704</c:v>
                </c:pt>
                <c:pt idx="13">
                  <c:v>169.14051472803493</c:v>
                </c:pt>
                <c:pt idx="14">
                  <c:v>148.85788638407001</c:v>
                </c:pt>
                <c:pt idx="15">
                  <c:v>114.22322277917085</c:v>
                </c:pt>
                <c:pt idx="16">
                  <c:v>79.707171035932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348.56716003277558</c:v>
                </c:pt>
                <c:pt idx="1">
                  <c:v>337.52739016673235</c:v>
                </c:pt>
                <c:pt idx="2">
                  <c:v>372.72796785436208</c:v>
                </c:pt>
                <c:pt idx="3">
                  <c:v>402.13719085816581</c:v>
                </c:pt>
                <c:pt idx="4">
                  <c:v>517.24036519920696</c:v>
                </c:pt>
                <c:pt idx="5">
                  <c:v>657.49973644811723</c:v>
                </c:pt>
                <c:pt idx="6">
                  <c:v>654.55881414773683</c:v>
                </c:pt>
                <c:pt idx="7">
                  <c:v>569.58878214597769</c:v>
                </c:pt>
                <c:pt idx="8">
                  <c:v>480.90866354989248</c:v>
                </c:pt>
                <c:pt idx="9">
                  <c:v>375.03546073619896</c:v>
                </c:pt>
                <c:pt idx="10">
                  <c:v>272.05793526441846</c:v>
                </c:pt>
                <c:pt idx="11">
                  <c:v>210.52479174876751</c:v>
                </c:pt>
                <c:pt idx="12">
                  <c:v>195.95591512226778</c:v>
                </c:pt>
                <c:pt idx="13">
                  <c:v>154.19481845686647</c:v>
                </c:pt>
                <c:pt idx="14">
                  <c:v>134.24179177274729</c:v>
                </c:pt>
                <c:pt idx="15">
                  <c:v>106.00893768909569</c:v>
                </c:pt>
                <c:pt idx="16">
                  <c:v>73.11585288330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451.94363515517085</c:v>
                </c:pt>
                <c:pt idx="1">
                  <c:v>440.81464227856731</c:v>
                </c:pt>
                <c:pt idx="2">
                  <c:v>468.63245234880145</c:v>
                </c:pt>
                <c:pt idx="3">
                  <c:v>495.5719036193708</c:v>
                </c:pt>
                <c:pt idx="4">
                  <c:v>608.23543604020142</c:v>
                </c:pt>
                <c:pt idx="5">
                  <c:v>768.92837516610541</c:v>
                </c:pt>
                <c:pt idx="6">
                  <c:v>802.38076349376354</c:v>
                </c:pt>
                <c:pt idx="7">
                  <c:v>725.87010549743263</c:v>
                </c:pt>
                <c:pt idx="8">
                  <c:v>615.21558522477142</c:v>
                </c:pt>
                <c:pt idx="9">
                  <c:v>467.65130688109076</c:v>
                </c:pt>
                <c:pt idx="10">
                  <c:v>343.92419128150397</c:v>
                </c:pt>
                <c:pt idx="11">
                  <c:v>264.22714657575085</c:v>
                </c:pt>
                <c:pt idx="12">
                  <c:v>202.20006453133902</c:v>
                </c:pt>
                <c:pt idx="13">
                  <c:v>163.29063855469983</c:v>
                </c:pt>
                <c:pt idx="14">
                  <c:v>137.29495578164259</c:v>
                </c:pt>
                <c:pt idx="15">
                  <c:v>102.26339046309783</c:v>
                </c:pt>
                <c:pt idx="16">
                  <c:v>72.501977942541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Olomoucký kraj</c:v>
                </c:pt>
                <c:pt idx="4">
                  <c:v>Jihočes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Moravskoslezský kraj</c:v>
                </c:pt>
                <c:pt idx="8">
                  <c:v>Pardubic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77.778710729484757</c:v>
                </c:pt>
                <c:pt idx="1">
                  <c:v>57.933339522792686</c:v>
                </c:pt>
                <c:pt idx="2">
                  <c:v>44.84760782859842</c:v>
                </c:pt>
                <c:pt idx="3">
                  <c:v>43.225542365943511</c:v>
                </c:pt>
                <c:pt idx="4">
                  <c:v>40.364097845309729</c:v>
                </c:pt>
                <c:pt idx="5">
                  <c:v>35.201097552169834</c:v>
                </c:pt>
                <c:pt idx="6">
                  <c:v>33.817082575542003</c:v>
                </c:pt>
                <c:pt idx="7">
                  <c:v>32.947192240277282</c:v>
                </c:pt>
                <c:pt idx="8">
                  <c:v>32.941778313458464</c:v>
                </c:pt>
                <c:pt idx="9">
                  <c:v>32.422887084400827</c:v>
                </c:pt>
                <c:pt idx="10">
                  <c:v>31.870191325072486</c:v>
                </c:pt>
                <c:pt idx="11">
                  <c:v>31.407270035221011</c:v>
                </c:pt>
                <c:pt idx="12">
                  <c:v>29.566899673304011</c:v>
                </c:pt>
                <c:pt idx="13">
                  <c:v>17.3464462411005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Liberecký kraj</c:v>
                </c:pt>
                <c:pt idx="2">
                  <c:v>Ústecký kraj</c:v>
                </c:pt>
                <c:pt idx="3">
                  <c:v>Jihomoravský kraj</c:v>
                </c:pt>
                <c:pt idx="4">
                  <c:v>Jihočeský kraj</c:v>
                </c:pt>
                <c:pt idx="5">
                  <c:v>Zlínský kraj</c:v>
                </c:pt>
                <c:pt idx="6">
                  <c:v>Olomoucký kraj</c:v>
                </c:pt>
                <c:pt idx="7">
                  <c:v>Moravskoslezs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80.067547894951375</c:v>
                </c:pt>
                <c:pt idx="1">
                  <c:v>66.872857978767868</c:v>
                </c:pt>
                <c:pt idx="2">
                  <c:v>64.405558527186784</c:v>
                </c:pt>
                <c:pt idx="3">
                  <c:v>58.082723464736951</c:v>
                </c:pt>
                <c:pt idx="4">
                  <c:v>57.694265642499182</c:v>
                </c:pt>
                <c:pt idx="5">
                  <c:v>47.810168467935732</c:v>
                </c:pt>
                <c:pt idx="6">
                  <c:v>46.715184893784425</c:v>
                </c:pt>
                <c:pt idx="7">
                  <c:v>34.940356810923753</c:v>
                </c:pt>
                <c:pt idx="8">
                  <c:v>31.613848407741539</c:v>
                </c:pt>
                <c:pt idx="9">
                  <c:v>30.227341425775968</c:v>
                </c:pt>
                <c:pt idx="10">
                  <c:v>26.941872909198405</c:v>
                </c:pt>
                <c:pt idx="11">
                  <c:v>26.395671109937972</c:v>
                </c:pt>
                <c:pt idx="12">
                  <c:v>16.217969510217319</c:v>
                </c:pt>
                <c:pt idx="13">
                  <c:v>7.8408823606283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1 - 27.01</c:v>
                </c:pt>
                <c:pt idx="1">
                  <c:v>28.01 - 03.02</c:v>
                </c:pt>
                <c:pt idx="2">
                  <c:v>04.02 - 10.02</c:v>
                </c:pt>
                <c:pt idx="3">
                  <c:v>11.02 - 17.02</c:v>
                </c:pt>
                <c:pt idx="4">
                  <c:v>18.02 - 24.02</c:v>
                </c:pt>
                <c:pt idx="5">
                  <c:v>25.02 - 03.03</c:v>
                </c:pt>
                <c:pt idx="6">
                  <c:v>04.03 - 10.03</c:v>
                </c:pt>
                <c:pt idx="7">
                  <c:v>11.03 - 17.03</c:v>
                </c:pt>
                <c:pt idx="8">
                  <c:v>18.03 - 24.03</c:v>
                </c:pt>
                <c:pt idx="9">
                  <c:v>25.03 - 31.03</c:v>
                </c:pt>
                <c:pt idx="10">
                  <c:v>01.04 - 07.04</c:v>
                </c:pt>
                <c:pt idx="11">
                  <c:v>08.04 - 14.04</c:v>
                </c:pt>
                <c:pt idx="12">
                  <c:v>15.04 - 21.04</c:v>
                </c:pt>
                <c:pt idx="13">
                  <c:v>22.04 - 28.04</c:v>
                </c:pt>
                <c:pt idx="14">
                  <c:v>29.04 - 05.05</c:v>
                </c:pt>
                <c:pt idx="15">
                  <c:v>06.05 - 12.05</c:v>
                </c:pt>
                <c:pt idx="16">
                  <c:v>13.05 - 19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7.002237136464998</c:v>
                </c:pt>
                <c:pt idx="1">
                  <c:v>18.894697535473998</c:v>
                </c:pt>
                <c:pt idx="2">
                  <c:v>19.222903885480001</c:v>
                </c:pt>
                <c:pt idx="3">
                  <c:v>19.139072847682002</c:v>
                </c:pt>
                <c:pt idx="4">
                  <c:v>20.984455958548999</c:v>
                </c:pt>
                <c:pt idx="5">
                  <c:v>19.272412299696001</c:v>
                </c:pt>
                <c:pt idx="6">
                  <c:v>22.234273318871999</c:v>
                </c:pt>
                <c:pt idx="7">
                  <c:v>24.757643549589002</c:v>
                </c:pt>
                <c:pt idx="8">
                  <c:v>21.527138914443</c:v>
                </c:pt>
                <c:pt idx="9">
                  <c:v>20.782122905026998</c:v>
                </c:pt>
                <c:pt idx="10">
                  <c:v>19.27162367223</c:v>
                </c:pt>
                <c:pt idx="11">
                  <c:v>18.908629441624001</c:v>
                </c:pt>
                <c:pt idx="12">
                  <c:v>16.818181818180999</c:v>
                </c:pt>
                <c:pt idx="13">
                  <c:v>13.629160063391</c:v>
                </c:pt>
                <c:pt idx="14">
                  <c:v>10.091743119266001</c:v>
                </c:pt>
                <c:pt idx="15">
                  <c:v>9.3659942363109998</c:v>
                </c:pt>
                <c:pt idx="16">
                  <c:v>3.910614525139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1 - 27.01</c:v>
                </c:pt>
                <c:pt idx="1">
                  <c:v>28.01 - 03.02</c:v>
                </c:pt>
                <c:pt idx="2">
                  <c:v>04.02 - 10.02</c:v>
                </c:pt>
                <c:pt idx="3">
                  <c:v>11.02 - 17.02</c:v>
                </c:pt>
                <c:pt idx="4">
                  <c:v>18.02 - 24.02</c:v>
                </c:pt>
                <c:pt idx="5">
                  <c:v>25.02 - 03.03</c:v>
                </c:pt>
                <c:pt idx="6">
                  <c:v>04.03 - 10.03</c:v>
                </c:pt>
                <c:pt idx="7">
                  <c:v>11.03 - 17.03</c:v>
                </c:pt>
                <c:pt idx="8">
                  <c:v>18.03 - 24.03</c:v>
                </c:pt>
                <c:pt idx="9">
                  <c:v>25.03 - 31.03</c:v>
                </c:pt>
                <c:pt idx="10">
                  <c:v>01.04 - 07.04</c:v>
                </c:pt>
                <c:pt idx="11">
                  <c:v>08.04 - 14.04</c:v>
                </c:pt>
                <c:pt idx="12">
                  <c:v>15.04 - 21.04</c:v>
                </c:pt>
                <c:pt idx="13">
                  <c:v>22.04 - 28.04</c:v>
                </c:pt>
                <c:pt idx="14">
                  <c:v>29.04 - 05.05</c:v>
                </c:pt>
                <c:pt idx="15">
                  <c:v>06.05 - 12.05</c:v>
                </c:pt>
                <c:pt idx="16">
                  <c:v>13.05 - 19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7.497523935292001</c:v>
                </c:pt>
                <c:pt idx="1">
                  <c:v>19.058441558441</c:v>
                </c:pt>
                <c:pt idx="2">
                  <c:v>18.407812962413999</c:v>
                </c:pt>
                <c:pt idx="3">
                  <c:v>20.037154989384</c:v>
                </c:pt>
                <c:pt idx="4">
                  <c:v>20.690376569036999</c:v>
                </c:pt>
                <c:pt idx="5">
                  <c:v>19.680338917773</c:v>
                </c:pt>
                <c:pt idx="6">
                  <c:v>24.219247928615999</c:v>
                </c:pt>
                <c:pt idx="7">
                  <c:v>27.515723270439999</c:v>
                </c:pt>
                <c:pt idx="8">
                  <c:v>25.651577503428999</c:v>
                </c:pt>
                <c:pt idx="9">
                  <c:v>21.793973370707</c:v>
                </c:pt>
                <c:pt idx="10">
                  <c:v>21.235102925243002</c:v>
                </c:pt>
                <c:pt idx="11">
                  <c:v>19.241573033706999</c:v>
                </c:pt>
                <c:pt idx="12">
                  <c:v>15.160142348754</c:v>
                </c:pt>
                <c:pt idx="13">
                  <c:v>13.303049967552999</c:v>
                </c:pt>
                <c:pt idx="14">
                  <c:v>6.7049808429109996</c:v>
                </c:pt>
                <c:pt idx="15">
                  <c:v>6.1844284925449999</c:v>
                </c:pt>
                <c:pt idx="16">
                  <c:v>2.737226277372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1 - 27.01</c:v>
                </c:pt>
                <c:pt idx="1">
                  <c:v>28.01 - 03.02</c:v>
                </c:pt>
                <c:pt idx="2">
                  <c:v>04.02 - 10.02</c:v>
                </c:pt>
                <c:pt idx="3">
                  <c:v>11.02 - 17.02</c:v>
                </c:pt>
                <c:pt idx="4">
                  <c:v>18.02 - 24.02</c:v>
                </c:pt>
                <c:pt idx="5">
                  <c:v>25.02 - 03.03</c:v>
                </c:pt>
                <c:pt idx="6">
                  <c:v>04.03 - 10.03</c:v>
                </c:pt>
                <c:pt idx="7">
                  <c:v>11.03 - 17.03</c:v>
                </c:pt>
                <c:pt idx="8">
                  <c:v>18.03 - 24.03</c:v>
                </c:pt>
                <c:pt idx="9">
                  <c:v>25.03 - 31.03</c:v>
                </c:pt>
                <c:pt idx="10">
                  <c:v>01.04 - 07.04</c:v>
                </c:pt>
                <c:pt idx="11">
                  <c:v>08.04 - 14.04</c:v>
                </c:pt>
                <c:pt idx="12">
                  <c:v>15.04 - 21.04</c:v>
                </c:pt>
                <c:pt idx="13">
                  <c:v>22.04 - 28.04</c:v>
                </c:pt>
                <c:pt idx="14">
                  <c:v>29.04 - 05.05</c:v>
                </c:pt>
                <c:pt idx="15">
                  <c:v>06.05 - 12.05</c:v>
                </c:pt>
                <c:pt idx="16">
                  <c:v>13.05 - 19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7.642617449664002</c:v>
                </c:pt>
                <c:pt idx="1">
                  <c:v>26.754205990972</c:v>
                </c:pt>
                <c:pt idx="2">
                  <c:v>27.067082683307</c:v>
                </c:pt>
                <c:pt idx="3">
                  <c:v>27.569005653474999</c:v>
                </c:pt>
                <c:pt idx="4">
                  <c:v>28.687572590011001</c:v>
                </c:pt>
                <c:pt idx="5">
                  <c:v>33.032005863668999</c:v>
                </c:pt>
                <c:pt idx="6">
                  <c:v>30.240466358999001</c:v>
                </c:pt>
                <c:pt idx="7">
                  <c:v>30.474297074694</c:v>
                </c:pt>
                <c:pt idx="8">
                  <c:v>26.657645466847001</c:v>
                </c:pt>
                <c:pt idx="9">
                  <c:v>20.400307929176002</c:v>
                </c:pt>
                <c:pt idx="10">
                  <c:v>19.862288135593001</c:v>
                </c:pt>
                <c:pt idx="11">
                  <c:v>18.11305732484</c:v>
                </c:pt>
                <c:pt idx="12">
                  <c:v>14.043824701195</c:v>
                </c:pt>
                <c:pt idx="13">
                  <c:v>13.288718929253999</c:v>
                </c:pt>
                <c:pt idx="14">
                  <c:v>7.5342465753420003</c:v>
                </c:pt>
                <c:pt idx="15">
                  <c:v>4.5468416234360003</c:v>
                </c:pt>
                <c:pt idx="16">
                  <c:v>2.269732025185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1 - 27.01</c:v>
                </c:pt>
                <c:pt idx="1">
                  <c:v>28.01 - 03.02</c:v>
                </c:pt>
                <c:pt idx="2">
                  <c:v>04.02 - 10.02</c:v>
                </c:pt>
                <c:pt idx="3">
                  <c:v>11.02 - 17.02</c:v>
                </c:pt>
                <c:pt idx="4">
                  <c:v>18.02 - 24.02</c:v>
                </c:pt>
                <c:pt idx="5">
                  <c:v>25.02 - 03.03</c:v>
                </c:pt>
                <c:pt idx="6">
                  <c:v>04.03 - 10.03</c:v>
                </c:pt>
                <c:pt idx="7">
                  <c:v>11.03 - 17.03</c:v>
                </c:pt>
                <c:pt idx="8">
                  <c:v>18.03 - 24.03</c:v>
                </c:pt>
                <c:pt idx="9">
                  <c:v>25.03 - 31.03</c:v>
                </c:pt>
                <c:pt idx="10">
                  <c:v>01.04 - 07.04</c:v>
                </c:pt>
                <c:pt idx="11">
                  <c:v>08.04 - 14.04</c:v>
                </c:pt>
                <c:pt idx="12">
                  <c:v>15.04 - 21.04</c:v>
                </c:pt>
                <c:pt idx="13">
                  <c:v>22.04 - 28.04</c:v>
                </c:pt>
                <c:pt idx="14">
                  <c:v>29.04 - 05.05</c:v>
                </c:pt>
                <c:pt idx="15">
                  <c:v>06.05 - 12.05</c:v>
                </c:pt>
                <c:pt idx="16">
                  <c:v>13.05 - 19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0.243188471065</c:v>
                </c:pt>
                <c:pt idx="1">
                  <c:v>22.406825325549999</c:v>
                </c:pt>
                <c:pt idx="2">
                  <c:v>23.226238286478999</c:v>
                </c:pt>
                <c:pt idx="3">
                  <c:v>23.482362592287998</c:v>
                </c:pt>
                <c:pt idx="4">
                  <c:v>25.115833200190998</c:v>
                </c:pt>
                <c:pt idx="5">
                  <c:v>27.059549521752</c:v>
                </c:pt>
                <c:pt idx="6">
                  <c:v>32.765113974230999</c:v>
                </c:pt>
                <c:pt idx="7">
                  <c:v>37.953091684434</c:v>
                </c:pt>
                <c:pt idx="8">
                  <c:v>37.429289754871</c:v>
                </c:pt>
                <c:pt idx="9">
                  <c:v>37.324211326491003</c:v>
                </c:pt>
                <c:pt idx="10">
                  <c:v>34.230573895378001</c:v>
                </c:pt>
                <c:pt idx="11">
                  <c:v>28.970976253298002</c:v>
                </c:pt>
                <c:pt idx="12">
                  <c:v>26.859738784781001</c:v>
                </c:pt>
                <c:pt idx="13">
                  <c:v>25.671250818598001</c:v>
                </c:pt>
                <c:pt idx="14">
                  <c:v>23.91910739191</c:v>
                </c:pt>
                <c:pt idx="15">
                  <c:v>21.882352941175998</c:v>
                </c:pt>
                <c:pt idx="16">
                  <c:v>16.07898448518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lín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89.91999917258386</c:v>
                </c:pt>
                <c:pt idx="1">
                  <c:v>316.83154663095013</c:v>
                </c:pt>
                <c:pt idx="2">
                  <c:v>267.70369527631419</c:v>
                </c:pt>
                <c:pt idx="3">
                  <c:v>218.57584392167831</c:v>
                </c:pt>
                <c:pt idx="4">
                  <c:v>282.01110461819064</c:v>
                </c:pt>
                <c:pt idx="5">
                  <c:v>393.19518926289294</c:v>
                </c:pt>
                <c:pt idx="6">
                  <c:v>424.05092748212041</c:v>
                </c:pt>
                <c:pt idx="7">
                  <c:v>467.14553393355538</c:v>
                </c:pt>
                <c:pt idx="8">
                  <c:v>418.36243943053097</c:v>
                </c:pt>
                <c:pt idx="9">
                  <c:v>397.67702833384215</c:v>
                </c:pt>
                <c:pt idx="10">
                  <c:v>392.67805398547569</c:v>
                </c:pt>
                <c:pt idx="11">
                  <c:v>322.69241310834525</c:v>
                </c:pt>
                <c:pt idx="12">
                  <c:v>284.9415378568882</c:v>
                </c:pt>
                <c:pt idx="13">
                  <c:v>268.39320897953718</c:v>
                </c:pt>
                <c:pt idx="14">
                  <c:v>216.67968123781517</c:v>
                </c:pt>
                <c:pt idx="15">
                  <c:v>148.07306776713065</c:v>
                </c:pt>
                <c:pt idx="16">
                  <c:v>107.39175927697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AD-4927-AF32-6D9FDB8C637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AD-4927-AF32-6D9FDB8C637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AD-4927-AF32-6D9FDB8C637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AD-4927-AF32-6D9FDB8C6377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AD-4927-AF32-6D9FDB8C6377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52.03707758066713</c:v>
                </c:pt>
                <c:pt idx="1">
                  <c:v>440.9174289466132</c:v>
                </c:pt>
                <c:pt idx="2">
                  <c:v>468.67917356154953</c:v>
                </c:pt>
                <c:pt idx="3">
                  <c:v>495.59993634701965</c:v>
                </c:pt>
                <c:pt idx="4">
                  <c:v>608.30084573804879</c:v>
                </c:pt>
                <c:pt idx="5">
                  <c:v>769.04050607670092</c:v>
                </c:pt>
                <c:pt idx="6">
                  <c:v>802.45551743416058</c:v>
                </c:pt>
                <c:pt idx="7">
                  <c:v>725.98223640802814</c:v>
                </c:pt>
                <c:pt idx="8">
                  <c:v>615.35574886301583</c:v>
                </c:pt>
                <c:pt idx="9">
                  <c:v>467.71671657893819</c:v>
                </c:pt>
                <c:pt idx="10">
                  <c:v>343.98960097935134</c:v>
                </c:pt>
                <c:pt idx="11">
                  <c:v>264.27386778849899</c:v>
                </c:pt>
                <c:pt idx="12">
                  <c:v>202.23744150153752</c:v>
                </c:pt>
                <c:pt idx="13">
                  <c:v>163.29998279724944</c:v>
                </c:pt>
                <c:pt idx="14">
                  <c:v>137.31364426674185</c:v>
                </c:pt>
                <c:pt idx="15">
                  <c:v>102.29142319074671</c:v>
                </c:pt>
                <c:pt idx="16">
                  <c:v>72.511322185091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BAD-4927-AF32-6D9FDB8C63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1 - 27.01</c:v>
                </c:pt>
                <c:pt idx="1">
                  <c:v>28.01 - 03.02</c:v>
                </c:pt>
                <c:pt idx="2">
                  <c:v>04.02 - 10.02</c:v>
                </c:pt>
                <c:pt idx="3">
                  <c:v>11.02 - 17.02</c:v>
                </c:pt>
                <c:pt idx="4">
                  <c:v>18.02 - 24.02</c:v>
                </c:pt>
                <c:pt idx="5">
                  <c:v>25.02 - 03.03</c:v>
                </c:pt>
                <c:pt idx="6">
                  <c:v>04.03 - 10.03</c:v>
                </c:pt>
                <c:pt idx="7">
                  <c:v>11.03 - 17.03</c:v>
                </c:pt>
                <c:pt idx="8">
                  <c:v>18.03 - 24.03</c:v>
                </c:pt>
                <c:pt idx="9">
                  <c:v>25.03 - 31.03</c:v>
                </c:pt>
                <c:pt idx="10">
                  <c:v>01.04 - 07.04</c:v>
                </c:pt>
                <c:pt idx="11">
                  <c:v>08.04 - 14.04</c:v>
                </c:pt>
                <c:pt idx="12">
                  <c:v>15.04 - 21.04</c:v>
                </c:pt>
                <c:pt idx="13">
                  <c:v>22.04 - 28.04</c:v>
                </c:pt>
                <c:pt idx="14">
                  <c:v>29.04 - 05.05</c:v>
                </c:pt>
                <c:pt idx="15">
                  <c:v>06.05 - 12.05</c:v>
                </c:pt>
                <c:pt idx="16">
                  <c:v>13.05 - 19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7.816312437657999</c:v>
                </c:pt>
                <c:pt idx="1">
                  <c:v>18.728971962616001</c:v>
                </c:pt>
                <c:pt idx="2">
                  <c:v>19.238391845978999</c:v>
                </c:pt>
                <c:pt idx="3">
                  <c:v>20.045644731837001</c:v>
                </c:pt>
                <c:pt idx="4">
                  <c:v>19.986151639546001</c:v>
                </c:pt>
                <c:pt idx="5">
                  <c:v>21.752951861943</c:v>
                </c:pt>
                <c:pt idx="6">
                  <c:v>25.472502486854999</c:v>
                </c:pt>
                <c:pt idx="7">
                  <c:v>29.899342645849998</c:v>
                </c:pt>
                <c:pt idx="8">
                  <c:v>28.224114525484001</c:v>
                </c:pt>
                <c:pt idx="9">
                  <c:v>28.329041054385002</c:v>
                </c:pt>
                <c:pt idx="10">
                  <c:v>24.682472480948</c:v>
                </c:pt>
                <c:pt idx="11">
                  <c:v>19.862896315337998</c:v>
                </c:pt>
                <c:pt idx="12">
                  <c:v>13.740352811466</c:v>
                </c:pt>
                <c:pt idx="13">
                  <c:v>10.419906687401999</c:v>
                </c:pt>
                <c:pt idx="14">
                  <c:v>8.2289392023900003</c:v>
                </c:pt>
                <c:pt idx="15">
                  <c:v>7.4610088520440003</c:v>
                </c:pt>
                <c:pt idx="16">
                  <c:v>3.548330711414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1 - 27.01</c:v>
                </c:pt>
                <c:pt idx="1">
                  <c:v>28.01 - 03.02</c:v>
                </c:pt>
                <c:pt idx="2">
                  <c:v>04.02 - 10.02</c:v>
                </c:pt>
                <c:pt idx="3">
                  <c:v>11.02 - 17.02</c:v>
                </c:pt>
                <c:pt idx="4">
                  <c:v>18.02 - 24.02</c:v>
                </c:pt>
                <c:pt idx="5">
                  <c:v>25.02 - 03.03</c:v>
                </c:pt>
                <c:pt idx="6">
                  <c:v>04.03 - 10.03</c:v>
                </c:pt>
                <c:pt idx="7">
                  <c:v>11.03 - 17.03</c:v>
                </c:pt>
                <c:pt idx="8">
                  <c:v>18.03 - 24.03</c:v>
                </c:pt>
                <c:pt idx="9">
                  <c:v>25.03 - 31.03</c:v>
                </c:pt>
                <c:pt idx="10">
                  <c:v>01.04 - 07.04</c:v>
                </c:pt>
                <c:pt idx="11">
                  <c:v>08.04 - 14.04</c:v>
                </c:pt>
                <c:pt idx="12">
                  <c:v>15.04 - 21.04</c:v>
                </c:pt>
                <c:pt idx="13">
                  <c:v>22.04 - 28.04</c:v>
                </c:pt>
                <c:pt idx="14">
                  <c:v>29.04 - 05.05</c:v>
                </c:pt>
                <c:pt idx="15">
                  <c:v>06.05 - 12.05</c:v>
                </c:pt>
                <c:pt idx="16">
                  <c:v>13.05 - 19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6.265781595730001</c:v>
                </c:pt>
                <c:pt idx="1">
                  <c:v>26.421877006033998</c:v>
                </c:pt>
                <c:pt idx="2">
                  <c:v>27.554104703179</c:v>
                </c:pt>
                <c:pt idx="3">
                  <c:v>28.672427336999</c:v>
                </c:pt>
                <c:pt idx="4">
                  <c:v>30.979147778784998</c:v>
                </c:pt>
                <c:pt idx="5">
                  <c:v>30.184935312326001</c:v>
                </c:pt>
                <c:pt idx="6">
                  <c:v>29.633571537175001</c:v>
                </c:pt>
                <c:pt idx="7">
                  <c:v>28.240317169868</c:v>
                </c:pt>
                <c:pt idx="8">
                  <c:v>25.442917638924001</c:v>
                </c:pt>
                <c:pt idx="9">
                  <c:v>22.820998107381001</c:v>
                </c:pt>
                <c:pt idx="10">
                  <c:v>19.682374381671</c:v>
                </c:pt>
                <c:pt idx="11">
                  <c:v>18.073326771653001</c:v>
                </c:pt>
                <c:pt idx="12">
                  <c:v>13.204747774479999</c:v>
                </c:pt>
                <c:pt idx="13">
                  <c:v>11.203104786545</c:v>
                </c:pt>
                <c:pt idx="14">
                  <c:v>7.3127104377099998</c:v>
                </c:pt>
                <c:pt idx="15">
                  <c:v>5.0554016620490003</c:v>
                </c:pt>
                <c:pt idx="16">
                  <c:v>2.575884154830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Ústecký kraj</c:v>
                </c:pt>
                <c:pt idx="2">
                  <c:v>Zlínský kraj</c:v>
                </c:pt>
                <c:pt idx="3">
                  <c:v>Jihočeský kraj</c:v>
                </c:pt>
                <c:pt idx="4">
                  <c:v>Kraj Vysočina</c:v>
                </c:pt>
                <c:pt idx="5">
                  <c:v>Liber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2.846604879894</c:v>
                </c:pt>
                <c:pt idx="1">
                  <c:v>91.440514679467995</c:v>
                </c:pt>
                <c:pt idx="2">
                  <c:v>88.648116227529997</c:v>
                </c:pt>
                <c:pt idx="3">
                  <c:v>88.394999368607003</c:v>
                </c:pt>
                <c:pt idx="4">
                  <c:v>87.688049762968006</c:v>
                </c:pt>
                <c:pt idx="5">
                  <c:v>85.725265304914998</c:v>
                </c:pt>
                <c:pt idx="6">
                  <c:v>78.734991142313007</c:v>
                </c:pt>
                <c:pt idx="7">
                  <c:v>73.139353598143003</c:v>
                </c:pt>
                <c:pt idx="8">
                  <c:v>69.484136323391994</c:v>
                </c:pt>
                <c:pt idx="9">
                  <c:v>65.458207452164999</c:v>
                </c:pt>
                <c:pt idx="10">
                  <c:v>63.252376984165998</c:v>
                </c:pt>
                <c:pt idx="11">
                  <c:v>56.228475036898999</c:v>
                </c:pt>
                <c:pt idx="12">
                  <c:v>49.193485746834</c:v>
                </c:pt>
                <c:pt idx="13">
                  <c:v>37.654382970176997</c:v>
                </c:pt>
                <c:pt idx="14">
                  <c:v>28.974309445624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5.47901349053802</c:v>
                </c:pt>
                <c:pt idx="1">
                  <c:v>482.434438396833</c:v>
                </c:pt>
                <c:pt idx="2">
                  <c:v>341.18585705887199</c:v>
                </c:pt>
                <c:pt idx="3">
                  <c:v>537.46689515500805</c:v>
                </c:pt>
                <c:pt idx="4">
                  <c:v>449.43371352096301</c:v>
                </c:pt>
                <c:pt idx="5">
                  <c:v>521.40900571867905</c:v>
                </c:pt>
                <c:pt idx="6">
                  <c:v>411.70177182398902</c:v>
                </c:pt>
                <c:pt idx="7">
                  <c:v>346.21274329212798</c:v>
                </c:pt>
                <c:pt idx="8">
                  <c:v>340.44410497026502</c:v>
                </c:pt>
                <c:pt idx="9">
                  <c:v>612.42844294707902</c:v>
                </c:pt>
                <c:pt idx="10">
                  <c:v>522.61917929432502</c:v>
                </c:pt>
                <c:pt idx="11">
                  <c:v>451.80338469654203</c:v>
                </c:pt>
                <c:pt idx="12">
                  <c:v>339.82285363500802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57.68695767371003</c:v>
                </c:pt>
                <c:pt idx="1">
                  <c:v>452.74616526471999</c:v>
                </c:pt>
                <c:pt idx="2">
                  <c:v>292.89493575207803</c:v>
                </c:pt>
                <c:pt idx="3">
                  <c:v>368.04798255179901</c:v>
                </c:pt>
                <c:pt idx="4">
                  <c:v>335.57717276231898</c:v>
                </c:pt>
                <c:pt idx="5">
                  <c:v>391.65745590850099</c:v>
                </c:pt>
                <c:pt idx="6">
                  <c:v>289.17571872857502</c:v>
                </c:pt>
                <c:pt idx="7">
                  <c:v>250.78230764109199</c:v>
                </c:pt>
                <c:pt idx="8">
                  <c:v>200.77472857220701</c:v>
                </c:pt>
                <c:pt idx="9">
                  <c:v>362.60332053276898</c:v>
                </c:pt>
                <c:pt idx="10">
                  <c:v>345.64760535339002</c:v>
                </c:pt>
                <c:pt idx="11">
                  <c:v>266.31724935973199</c:v>
                </c:pt>
                <c:pt idx="12">
                  <c:v>197.316495659037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23.00236250027501</c:v>
                </c:pt>
                <c:pt idx="1">
                  <c:v>239.98020781791101</c:v>
                </c:pt>
                <c:pt idx="2">
                  <c:v>149.071974468799</c:v>
                </c:pt>
                <c:pt idx="3">
                  <c:v>198.62906994859</c:v>
                </c:pt>
                <c:pt idx="4">
                  <c:v>155.80368735393401</c:v>
                </c:pt>
                <c:pt idx="5">
                  <c:v>153.77961458984001</c:v>
                </c:pt>
                <c:pt idx="6">
                  <c:v>148.50205079908801</c:v>
                </c:pt>
                <c:pt idx="7">
                  <c:v>175.32568410306399</c:v>
                </c:pt>
                <c:pt idx="8">
                  <c:v>106.93436630476199</c:v>
                </c:pt>
                <c:pt idx="9">
                  <c:v>209.85310282802001</c:v>
                </c:pt>
                <c:pt idx="10">
                  <c:v>116.13759539873899</c:v>
                </c:pt>
                <c:pt idx="11">
                  <c:v>124.22465944575301</c:v>
                </c:pt>
                <c:pt idx="12">
                  <c:v>98.658247829518004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8.18926497538099</c:v>
                </c:pt>
                <c:pt idx="1">
                  <c:v>101.43493320138499</c:v>
                </c:pt>
                <c:pt idx="2">
                  <c:v>99.731250524901</c:v>
                </c:pt>
                <c:pt idx="3">
                  <c:v>91.525159682193006</c:v>
                </c:pt>
                <c:pt idx="4">
                  <c:v>89.886742704192002</c:v>
                </c:pt>
                <c:pt idx="5">
                  <c:v>76.889807294920004</c:v>
                </c:pt>
                <c:pt idx="6">
                  <c:v>74.725472846185994</c:v>
                </c:pt>
                <c:pt idx="7">
                  <c:v>73.237311081027002</c:v>
                </c:pt>
                <c:pt idx="8">
                  <c:v>73.108189208357999</c:v>
                </c:pt>
                <c:pt idx="9">
                  <c:v>68.523462147925002</c:v>
                </c:pt>
                <c:pt idx="10">
                  <c:v>66.364340227849993</c:v>
                </c:pt>
                <c:pt idx="11">
                  <c:v>61.261475891056001</c:v>
                </c:pt>
                <c:pt idx="12">
                  <c:v>54.810137683065001</c:v>
                </c:pt>
                <c:pt idx="13">
                  <c:v>46.069439209279999</c:v>
                </c:pt>
                <c:pt idx="14">
                  <c:v>18.14388097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Kraj Vysočina</c:v>
                </c:pt>
                <c:pt idx="2">
                  <c:v>Olomoucký kraj</c:v>
                </c:pt>
                <c:pt idx="3">
                  <c:v>Zlínský kraj</c:v>
                </c:pt>
                <c:pt idx="4">
                  <c:v>Jihočeský kraj</c:v>
                </c:pt>
                <c:pt idx="5">
                  <c:v>Hlavní město Praha</c:v>
                </c:pt>
                <c:pt idx="6">
                  <c:v>Ústecký kraj</c:v>
                </c:pt>
                <c:pt idx="7">
                  <c:v>ČR</c:v>
                </c:pt>
                <c:pt idx="8">
                  <c:v>Pardubický kraj</c:v>
                </c:pt>
                <c:pt idx="9">
                  <c:v>Středočeský kraj</c:v>
                </c:pt>
                <c:pt idx="10">
                  <c:v>Plzeňský kraj</c:v>
                </c:pt>
                <c:pt idx="11">
                  <c:v>Jihomoravs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8.129671621735</c:v>
                </c:pt>
                <c:pt idx="1">
                  <c:v>106.38297872340399</c:v>
                </c:pt>
                <c:pt idx="2">
                  <c:v>85.891776361783997</c:v>
                </c:pt>
                <c:pt idx="3">
                  <c:v>81.693934777327996</c:v>
                </c:pt>
                <c:pt idx="4">
                  <c:v>75.946409097989999</c:v>
                </c:pt>
                <c:pt idx="5">
                  <c:v>74.199356211468</c:v>
                </c:pt>
                <c:pt idx="6">
                  <c:v>72.806178532169994</c:v>
                </c:pt>
                <c:pt idx="7">
                  <c:v>72.116011889652995</c:v>
                </c:pt>
                <c:pt idx="8">
                  <c:v>67.278581383054998</c:v>
                </c:pt>
                <c:pt idx="9">
                  <c:v>63.814037386517001</c:v>
                </c:pt>
                <c:pt idx="10">
                  <c:v>61.387354205032999</c:v>
                </c:pt>
                <c:pt idx="11">
                  <c:v>59.921436339022002</c:v>
                </c:pt>
                <c:pt idx="12">
                  <c:v>58.068797699369</c:v>
                </c:pt>
                <c:pt idx="13">
                  <c:v>46.069439209279999</c:v>
                </c:pt>
                <c:pt idx="14">
                  <c:v>15.875895854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ardubický kraj</c:v>
                </c:pt>
                <c:pt idx="9">
                  <c:v>Ústec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1.18585705887199</c:v>
                </c:pt>
                <c:pt idx="1">
                  <c:v>482.434438396833</c:v>
                </c:pt>
                <c:pt idx="2">
                  <c:v>449.43371352096301</c:v>
                </c:pt>
                <c:pt idx="3">
                  <c:v>355.47901349053802</c:v>
                </c:pt>
                <c:pt idx="4">
                  <c:v>537.46689515500805</c:v>
                </c:pt>
                <c:pt idx="5">
                  <c:v>340.44410497026502</c:v>
                </c:pt>
                <c:pt idx="6">
                  <c:v>612.42844294707902</c:v>
                </c:pt>
                <c:pt idx="7">
                  <c:v>411.70177182398902</c:v>
                </c:pt>
                <c:pt idx="8">
                  <c:v>521.40900571867905</c:v>
                </c:pt>
                <c:pt idx="9">
                  <c:v>451.80338469654203</c:v>
                </c:pt>
                <c:pt idx="10">
                  <c:v>339.82285363500802</c:v>
                </c:pt>
                <c:pt idx="11">
                  <c:v>346.21274329212798</c:v>
                </c:pt>
                <c:pt idx="12">
                  <c:v>522.61917929432502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ardubický kraj</c:v>
                </c:pt>
                <c:pt idx="9">
                  <c:v>Ústec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93.94473838918202</c:v>
                </c:pt>
                <c:pt idx="1">
                  <c:v>452.74616526471999</c:v>
                </c:pt>
                <c:pt idx="2">
                  <c:v>335.57717276231898</c:v>
                </c:pt>
                <c:pt idx="3">
                  <c:v>357.68695767371003</c:v>
                </c:pt>
                <c:pt idx="4">
                  <c:v>368.04798255179901</c:v>
                </c:pt>
                <c:pt idx="5">
                  <c:v>200.77472857220701</c:v>
                </c:pt>
                <c:pt idx="6">
                  <c:v>362.60332053276898</c:v>
                </c:pt>
                <c:pt idx="7">
                  <c:v>289.17571872857502</c:v>
                </c:pt>
                <c:pt idx="8">
                  <c:v>391.65745590850099</c:v>
                </c:pt>
                <c:pt idx="9">
                  <c:v>265.46639552791203</c:v>
                </c:pt>
                <c:pt idx="10">
                  <c:v>197.316495659037</c:v>
                </c:pt>
                <c:pt idx="11">
                  <c:v>250.78230764109199</c:v>
                </c:pt>
                <c:pt idx="12">
                  <c:v>345.64760535339002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ardubický kraj</c:v>
                </c:pt>
                <c:pt idx="9">
                  <c:v>Ústec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9.071974468799</c:v>
                </c:pt>
                <c:pt idx="1">
                  <c:v>239.98020781791101</c:v>
                </c:pt>
                <c:pt idx="2">
                  <c:v>155.80368735393401</c:v>
                </c:pt>
                <c:pt idx="3">
                  <c:v>223.00236250027501</c:v>
                </c:pt>
                <c:pt idx="4">
                  <c:v>198.62906994859</c:v>
                </c:pt>
                <c:pt idx="5">
                  <c:v>106.93436630476199</c:v>
                </c:pt>
                <c:pt idx="6">
                  <c:v>209.85310282802001</c:v>
                </c:pt>
                <c:pt idx="7">
                  <c:v>148.50205079908801</c:v>
                </c:pt>
                <c:pt idx="8">
                  <c:v>153.77961458984001</c:v>
                </c:pt>
                <c:pt idx="9">
                  <c:v>124.22465944575301</c:v>
                </c:pt>
                <c:pt idx="10">
                  <c:v>98.658247829518004</c:v>
                </c:pt>
                <c:pt idx="11">
                  <c:v>175.32568410306399</c:v>
                </c:pt>
                <c:pt idx="12">
                  <c:v>116.13759539873899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ardubický kraj</c:v>
                </c:pt>
                <c:pt idx="9">
                  <c:v>Ústecký kraj</c:v>
                </c:pt>
                <c:pt idx="10">
                  <c:v>Hlavní město Praha</c:v>
                </c:pt>
                <c:pt idx="11">
                  <c:v>Středočes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8.129671621735</c:v>
                </c:pt>
                <c:pt idx="1">
                  <c:v>106.38297872340399</c:v>
                </c:pt>
                <c:pt idx="2">
                  <c:v>85.891776361783997</c:v>
                </c:pt>
                <c:pt idx="3">
                  <c:v>81.693934777327996</c:v>
                </c:pt>
                <c:pt idx="4">
                  <c:v>75.946409097989999</c:v>
                </c:pt>
                <c:pt idx="5">
                  <c:v>74.199356211468</c:v>
                </c:pt>
                <c:pt idx="6">
                  <c:v>72.806178532169994</c:v>
                </c:pt>
                <c:pt idx="7">
                  <c:v>72.116011889652995</c:v>
                </c:pt>
                <c:pt idx="8">
                  <c:v>67.278581383054998</c:v>
                </c:pt>
                <c:pt idx="9">
                  <c:v>63.814037386517001</c:v>
                </c:pt>
                <c:pt idx="10">
                  <c:v>61.387354205032999</c:v>
                </c:pt>
                <c:pt idx="11">
                  <c:v>59.921436339022002</c:v>
                </c:pt>
                <c:pt idx="12">
                  <c:v>58.068797699369</c:v>
                </c:pt>
                <c:pt idx="13">
                  <c:v>46.069439209279999</c:v>
                </c:pt>
                <c:pt idx="14">
                  <c:v>15.875895854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Jihoče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72.30926531075221</c:v>
                </c:pt>
                <c:pt idx="1">
                  <c:v>359.87823808835651</c:v>
                </c:pt>
                <c:pt idx="2">
                  <c:v>375.57240995663113</c:v>
                </c:pt>
                <c:pt idx="3">
                  <c:v>389.71270342210624</c:v>
                </c:pt>
                <c:pt idx="4">
                  <c:v>470.04821684683867</c:v>
                </c:pt>
                <c:pt idx="5">
                  <c:v>665.99228343985146</c:v>
                </c:pt>
                <c:pt idx="6">
                  <c:v>824.79865620595695</c:v>
                </c:pt>
                <c:pt idx="7">
                  <c:v>847.64066872710907</c:v>
                </c:pt>
                <c:pt idx="8">
                  <c:v>807.86138161544272</c:v>
                </c:pt>
                <c:pt idx="9">
                  <c:v>619.22054351558745</c:v>
                </c:pt>
                <c:pt idx="10">
                  <c:v>429.18121485321274</c:v>
                </c:pt>
                <c:pt idx="11">
                  <c:v>365.47220033843456</c:v>
                </c:pt>
                <c:pt idx="12">
                  <c:v>256.54532430219194</c:v>
                </c:pt>
                <c:pt idx="13">
                  <c:v>234.79102666299943</c:v>
                </c:pt>
                <c:pt idx="14">
                  <c:v>195.78867875273281</c:v>
                </c:pt>
                <c:pt idx="15">
                  <c:v>152.90163483546752</c:v>
                </c:pt>
                <c:pt idx="16">
                  <c:v>98.205115056926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8D-4DB5-8105-41A89BD8471A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8D-4DB5-8105-41A89BD8471A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8D-4DB5-8105-41A89BD8471A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8D-4DB5-8105-41A89BD8471A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8D-4DB5-8105-41A89BD8471A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52.03707758066713</c:v>
                </c:pt>
                <c:pt idx="1">
                  <c:v>440.9174289466132</c:v>
                </c:pt>
                <c:pt idx="2">
                  <c:v>468.67917356154953</c:v>
                </c:pt>
                <c:pt idx="3">
                  <c:v>495.59993634701965</c:v>
                </c:pt>
                <c:pt idx="4">
                  <c:v>608.30084573804879</c:v>
                </c:pt>
                <c:pt idx="5">
                  <c:v>769.04050607670092</c:v>
                </c:pt>
                <c:pt idx="6">
                  <c:v>802.45551743416058</c:v>
                </c:pt>
                <c:pt idx="7">
                  <c:v>725.98223640802814</c:v>
                </c:pt>
                <c:pt idx="8">
                  <c:v>615.35574886301583</c:v>
                </c:pt>
                <c:pt idx="9">
                  <c:v>467.71671657893819</c:v>
                </c:pt>
                <c:pt idx="10">
                  <c:v>343.98960097935134</c:v>
                </c:pt>
                <c:pt idx="11">
                  <c:v>264.27386778849899</c:v>
                </c:pt>
                <c:pt idx="12">
                  <c:v>202.23744150153752</c:v>
                </c:pt>
                <c:pt idx="13">
                  <c:v>163.29998279724944</c:v>
                </c:pt>
                <c:pt idx="14">
                  <c:v>137.31364426674185</c:v>
                </c:pt>
                <c:pt idx="15">
                  <c:v>102.29142319074671</c:v>
                </c:pt>
                <c:pt idx="16">
                  <c:v>72.511322185091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8D-4DB5-8105-41A89BD847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oravskoslez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28.72688068918217</c:v>
                </c:pt>
                <c:pt idx="1">
                  <c:v>365.01306971464589</c:v>
                </c:pt>
                <c:pt idx="2">
                  <c:v>302.80827005266445</c:v>
                </c:pt>
                <c:pt idx="3">
                  <c:v>301.88609647276985</c:v>
                </c:pt>
                <c:pt idx="4">
                  <c:v>378.00733379497893</c:v>
                </c:pt>
                <c:pt idx="5">
                  <c:v>477.51824646178756</c:v>
                </c:pt>
                <c:pt idx="6">
                  <c:v>505.43495574405148</c:v>
                </c:pt>
                <c:pt idx="7">
                  <c:v>474.33255591306073</c:v>
                </c:pt>
                <c:pt idx="8">
                  <c:v>494.62037467074202</c:v>
                </c:pt>
                <c:pt idx="9">
                  <c:v>417.32546188321248</c:v>
                </c:pt>
                <c:pt idx="10">
                  <c:v>326.95245105354132</c:v>
                </c:pt>
                <c:pt idx="11">
                  <c:v>288.13732673615937</c:v>
                </c:pt>
                <c:pt idx="12">
                  <c:v>242.28014962685498</c:v>
                </c:pt>
                <c:pt idx="13">
                  <c:v>197.6804819446796</c:v>
                </c:pt>
                <c:pt idx="14">
                  <c:v>163.72772741219646</c:v>
                </c:pt>
                <c:pt idx="15">
                  <c:v>133.54750116110034</c:v>
                </c:pt>
                <c:pt idx="16">
                  <c:v>107.97814280947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1C-40CD-9D3C-E52071B89F3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D1C-40CD-9D3C-E52071B89F3D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D1C-40CD-9D3C-E52071B89F3D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D1C-40CD-9D3C-E52071B89F3D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D1C-40CD-9D3C-E52071B89F3D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1 - 23.1</c:v>
                </c:pt>
                <c:pt idx="1">
                  <c:v>24.1 - 30.1</c:v>
                </c:pt>
                <c:pt idx="2">
                  <c:v>31.1 - 6.2</c:v>
                </c:pt>
                <c:pt idx="3">
                  <c:v>7.2 - 13.2</c:v>
                </c:pt>
                <c:pt idx="4">
                  <c:v>14.2 - 20.2</c:v>
                </c:pt>
                <c:pt idx="5">
                  <c:v>21.2 - 27.2</c:v>
                </c:pt>
                <c:pt idx="6">
                  <c:v>28.2 - 6.3</c:v>
                </c:pt>
                <c:pt idx="7">
                  <c:v>7.3 - 13.3</c:v>
                </c:pt>
                <c:pt idx="8">
                  <c:v>14.3 - 20.3</c:v>
                </c:pt>
                <c:pt idx="9">
                  <c:v>21.3 - 27.3</c:v>
                </c:pt>
                <c:pt idx="10">
                  <c:v>28.3 - 3.4</c:v>
                </c:pt>
                <c:pt idx="11">
                  <c:v>4.4 - 10.4</c:v>
                </c:pt>
                <c:pt idx="12">
                  <c:v>11.4 - 17.4</c:v>
                </c:pt>
                <c:pt idx="13">
                  <c:v>18.4 - 24.4</c:v>
                </c:pt>
                <c:pt idx="14">
                  <c:v>25.4 - 1.5</c:v>
                </c:pt>
                <c:pt idx="15">
                  <c:v>2.5 - 8.5</c:v>
                </c:pt>
                <c:pt idx="16">
                  <c:v>9.5 - 15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52.03707758066713</c:v>
                </c:pt>
                <c:pt idx="1">
                  <c:v>440.9174289466132</c:v>
                </c:pt>
                <c:pt idx="2">
                  <c:v>468.67917356154953</c:v>
                </c:pt>
                <c:pt idx="3">
                  <c:v>495.59993634701965</c:v>
                </c:pt>
                <c:pt idx="4">
                  <c:v>608.30084573804879</c:v>
                </c:pt>
                <c:pt idx="5">
                  <c:v>769.04050607670092</c:v>
                </c:pt>
                <c:pt idx="6">
                  <c:v>802.45551743416058</c:v>
                </c:pt>
                <c:pt idx="7">
                  <c:v>725.98223640802814</c:v>
                </c:pt>
                <c:pt idx="8">
                  <c:v>615.35574886301583</c:v>
                </c:pt>
                <c:pt idx="9">
                  <c:v>467.71671657893819</c:v>
                </c:pt>
                <c:pt idx="10">
                  <c:v>343.98960097935134</c:v>
                </c:pt>
                <c:pt idx="11">
                  <c:v>264.27386778849899</c:v>
                </c:pt>
                <c:pt idx="12">
                  <c:v>202.23744150153752</c:v>
                </c:pt>
                <c:pt idx="13">
                  <c:v>163.29998279724944</c:v>
                </c:pt>
                <c:pt idx="14">
                  <c:v>137.31364426674185</c:v>
                </c:pt>
                <c:pt idx="15">
                  <c:v>102.29142319074671</c:v>
                </c:pt>
                <c:pt idx="16">
                  <c:v>72.511322185091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D1C-40CD-9D3C-E52071B89F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Královéhradec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Karlovars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Jihočeský kraj</c:v>
                </c:pt>
                <c:pt idx="12">
                  <c:v>Kraj Vysočina</c:v>
                </c:pt>
                <c:pt idx="13">
                  <c:v>Pardubic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90663900414900001</c:v>
                </c:pt>
                <c:pt idx="1">
                  <c:v>0.89873417721500004</c:v>
                </c:pt>
                <c:pt idx="2">
                  <c:v>0.85260482846200003</c:v>
                </c:pt>
                <c:pt idx="3">
                  <c:v>0.85042735042700002</c:v>
                </c:pt>
                <c:pt idx="4">
                  <c:v>0.84883720930200002</c:v>
                </c:pt>
                <c:pt idx="5">
                  <c:v>0.83673469387699995</c:v>
                </c:pt>
                <c:pt idx="6">
                  <c:v>0.81382978723400001</c:v>
                </c:pt>
                <c:pt idx="7">
                  <c:v>0.79139703100000003</c:v>
                </c:pt>
                <c:pt idx="8">
                  <c:v>0.78657074340499999</c:v>
                </c:pt>
                <c:pt idx="9">
                  <c:v>0.78392721758899997</c:v>
                </c:pt>
                <c:pt idx="10">
                  <c:v>0.75113808801199999</c:v>
                </c:pt>
                <c:pt idx="11">
                  <c:v>0.73726114649600005</c:v>
                </c:pt>
                <c:pt idx="12">
                  <c:v>0.73640167363999998</c:v>
                </c:pt>
                <c:pt idx="13">
                  <c:v>0.72025723472600001</c:v>
                </c:pt>
                <c:pt idx="14">
                  <c:v>0.709531013615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Plzeňský kraj</c:v>
                </c:pt>
                <c:pt idx="6">
                  <c:v>Kraj Vysočina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39261901069</c:v>
                </c:pt>
                <c:pt idx="1">
                  <c:v>0.26192946058</c:v>
                </c:pt>
                <c:pt idx="2">
                  <c:v>0.19858951755000001</c:v>
                </c:pt>
                <c:pt idx="3">
                  <c:v>0.20394530842200001</c:v>
                </c:pt>
                <c:pt idx="4">
                  <c:v>0.147904547858</c:v>
                </c:pt>
                <c:pt idx="5">
                  <c:v>0.21386882975499999</c:v>
                </c:pt>
                <c:pt idx="6">
                  <c:v>0.21105718185899999</c:v>
                </c:pt>
                <c:pt idx="7">
                  <c:v>0.19288306629999999</c:v>
                </c:pt>
                <c:pt idx="8">
                  <c:v>0.13695922286199999</c:v>
                </c:pt>
                <c:pt idx="9">
                  <c:v>0.17744312008099999</c:v>
                </c:pt>
                <c:pt idx="10">
                  <c:v>0.193624796968</c:v>
                </c:pt>
                <c:pt idx="11">
                  <c:v>0.168860420919</c:v>
                </c:pt>
                <c:pt idx="12">
                  <c:v>0.128173422466</c:v>
                </c:pt>
                <c:pt idx="13">
                  <c:v>9.6251266463999993E-2</c:v>
                </c:pt>
                <c:pt idx="14">
                  <c:v>0.116090301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Plzeňský kraj</c:v>
                </c:pt>
                <c:pt idx="6">
                  <c:v>Kraj Vysočina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28149201833</c:v>
                </c:pt>
                <c:pt idx="1">
                  <c:v>0.20980456560999999</c:v>
                </c:pt>
                <c:pt idx="2">
                  <c:v>0.13610130071400001</c:v>
                </c:pt>
                <c:pt idx="3">
                  <c:v>0.148610253242</c:v>
                </c:pt>
                <c:pt idx="4">
                  <c:v>0.111920695478</c:v>
                </c:pt>
                <c:pt idx="5">
                  <c:v>0.126222222222</c:v>
                </c:pt>
                <c:pt idx="6">
                  <c:v>0.16290473225400001</c:v>
                </c:pt>
                <c:pt idx="7">
                  <c:v>0.130350580991</c:v>
                </c:pt>
                <c:pt idx="8">
                  <c:v>0.113789878416</c:v>
                </c:pt>
                <c:pt idx="9">
                  <c:v>0.12658793628500001</c:v>
                </c:pt>
                <c:pt idx="10">
                  <c:v>0.11939308514999999</c:v>
                </c:pt>
                <c:pt idx="11">
                  <c:v>0.124385050297</c:v>
                </c:pt>
                <c:pt idx="12">
                  <c:v>8.2317801671999993E-2</c:v>
                </c:pt>
                <c:pt idx="13">
                  <c:v>5.9819661315000001E-2</c:v>
                </c:pt>
                <c:pt idx="14">
                  <c:v>5.63380281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Plzeňský kraj</c:v>
                </c:pt>
                <c:pt idx="6">
                  <c:v>Kraj Vysočina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9.3675287979999994E-2</c:v>
                </c:pt>
                <c:pt idx="1">
                  <c:v>0.10066829319999999</c:v>
                </c:pt>
                <c:pt idx="2">
                  <c:v>6.7817448608E-2</c:v>
                </c:pt>
                <c:pt idx="3">
                  <c:v>5.7447127643000001E-2</c:v>
                </c:pt>
                <c:pt idx="4">
                  <c:v>5.6445114046E-2</c:v>
                </c:pt>
                <c:pt idx="5">
                  <c:v>5.7052797478000003E-2</c:v>
                </c:pt>
                <c:pt idx="6">
                  <c:v>7.4259681093000005E-2</c:v>
                </c:pt>
                <c:pt idx="7">
                  <c:v>5.2666409307999998E-2</c:v>
                </c:pt>
                <c:pt idx="8">
                  <c:v>6.0396470972000002E-2</c:v>
                </c:pt>
                <c:pt idx="9">
                  <c:v>5.4183514171000001E-2</c:v>
                </c:pt>
                <c:pt idx="10">
                  <c:v>4.6602632514999999E-2</c:v>
                </c:pt>
                <c:pt idx="11">
                  <c:v>4.9288441512999999E-2</c:v>
                </c:pt>
                <c:pt idx="12">
                  <c:v>3.0418392863E-2</c:v>
                </c:pt>
                <c:pt idx="13">
                  <c:v>2.0631067961000001E-2</c:v>
                </c:pt>
                <c:pt idx="14">
                  <c:v>1.831706183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9.5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Plzeňský kraj</c:v>
                </c:pt>
                <c:pt idx="6">
                  <c:v>Kraj Vysočina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.4463768115E-2</c:v>
                </c:pt>
                <c:pt idx="1">
                  <c:v>5.1711401131999998E-2</c:v>
                </c:pt>
                <c:pt idx="2">
                  <c:v>3.9107533292999999E-2</c:v>
                </c:pt>
                <c:pt idx="3">
                  <c:v>3.8144982589000002E-2</c:v>
                </c:pt>
                <c:pt idx="4">
                  <c:v>3.5151911139999999E-2</c:v>
                </c:pt>
                <c:pt idx="5">
                  <c:v>3.4877843302E-2</c:v>
                </c:pt>
                <c:pt idx="6">
                  <c:v>3.3967517401E-2</c:v>
                </c:pt>
                <c:pt idx="7">
                  <c:v>3.1439534594999999E-2</c:v>
                </c:pt>
                <c:pt idx="8">
                  <c:v>3.0573625072999999E-2</c:v>
                </c:pt>
                <c:pt idx="9">
                  <c:v>3.0295604E-2</c:v>
                </c:pt>
                <c:pt idx="10">
                  <c:v>2.4691358024E-2</c:v>
                </c:pt>
                <c:pt idx="11">
                  <c:v>2.4400296759999999E-2</c:v>
                </c:pt>
                <c:pt idx="12">
                  <c:v>1.7322787284E-2</c:v>
                </c:pt>
                <c:pt idx="13">
                  <c:v>1.4413627429E-2</c:v>
                </c:pt>
                <c:pt idx="14">
                  <c:v>1.38240410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3A-4D9C-A061-EA9939A57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Plzeňský kraj</c:v>
                </c:pt>
                <c:pt idx="6">
                  <c:v>Kraj Vysočina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.4463768115E-2</c:v>
                </c:pt>
                <c:pt idx="1">
                  <c:v>5.1711401131999998E-2</c:v>
                </c:pt>
                <c:pt idx="2">
                  <c:v>3.9107533292999999E-2</c:v>
                </c:pt>
                <c:pt idx="3">
                  <c:v>3.8144982589000002E-2</c:v>
                </c:pt>
                <c:pt idx="4">
                  <c:v>3.5151911139999999E-2</c:v>
                </c:pt>
                <c:pt idx="5">
                  <c:v>3.4877843302E-2</c:v>
                </c:pt>
                <c:pt idx="6">
                  <c:v>3.3967517401E-2</c:v>
                </c:pt>
                <c:pt idx="7">
                  <c:v>3.1439534594999999E-2</c:v>
                </c:pt>
                <c:pt idx="8">
                  <c:v>3.0573625072999999E-2</c:v>
                </c:pt>
                <c:pt idx="9">
                  <c:v>3.0295604E-2</c:v>
                </c:pt>
                <c:pt idx="10">
                  <c:v>2.4691358024E-2</c:v>
                </c:pt>
                <c:pt idx="11">
                  <c:v>2.4400296759999999E-2</c:v>
                </c:pt>
                <c:pt idx="12">
                  <c:v>1.7322787284E-2</c:v>
                </c:pt>
                <c:pt idx="13">
                  <c:v>1.4413627429E-2</c:v>
                </c:pt>
                <c:pt idx="14">
                  <c:v>1.38240410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Jihomoravský kraj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31.71707043897101</c:v>
                </c:pt>
                <c:pt idx="1">
                  <c:v>241.15741770222999</c:v>
                </c:pt>
                <c:pt idx="2">
                  <c:v>313.41727384465202</c:v>
                </c:pt>
                <c:pt idx="3">
                  <c:v>239.32551124306499</c:v>
                </c:pt>
                <c:pt idx="4">
                  <c:v>238.09384377664</c:v>
                </c:pt>
                <c:pt idx="5">
                  <c:v>277.07717480722101</c:v>
                </c:pt>
                <c:pt idx="6">
                  <c:v>338.798830850277</c:v>
                </c:pt>
                <c:pt idx="7">
                  <c:v>234.42835708499601</c:v>
                </c:pt>
                <c:pt idx="8">
                  <c:v>207.132918805467</c:v>
                </c:pt>
                <c:pt idx="9">
                  <c:v>264.50877488256799</c:v>
                </c:pt>
                <c:pt idx="10">
                  <c:v>242.847445309253</c:v>
                </c:pt>
                <c:pt idx="11">
                  <c:v>179.539264945127</c:v>
                </c:pt>
                <c:pt idx="12">
                  <c:v>209.630127182378</c:v>
                </c:pt>
                <c:pt idx="13">
                  <c:v>139.614344874664</c:v>
                </c:pt>
                <c:pt idx="14">
                  <c:v>99.893969199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Jihomoravský kraj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76.889659416146</c:v>
                </c:pt>
                <c:pt idx="1">
                  <c:v>213.576869573311</c:v>
                </c:pt>
                <c:pt idx="2">
                  <c:v>201.071865322251</c:v>
                </c:pt>
                <c:pt idx="3">
                  <c:v>203.32359537018499</c:v>
                </c:pt>
                <c:pt idx="4">
                  <c:v>156.19156933625601</c:v>
                </c:pt>
                <c:pt idx="5">
                  <c:v>155.036657355427</c:v>
                </c:pt>
                <c:pt idx="6">
                  <c:v>202.079793978976</c:v>
                </c:pt>
                <c:pt idx="7">
                  <c:v>152.91852932461501</c:v>
                </c:pt>
                <c:pt idx="8">
                  <c:v>156.627074276999</c:v>
                </c:pt>
                <c:pt idx="9">
                  <c:v>186.85833193078</c:v>
                </c:pt>
                <c:pt idx="10">
                  <c:v>131.75993939901099</c:v>
                </c:pt>
                <c:pt idx="11">
                  <c:v>111.228956380272</c:v>
                </c:pt>
                <c:pt idx="12">
                  <c:v>100.83902808772901</c:v>
                </c:pt>
                <c:pt idx="13">
                  <c:v>60.094080823814998</c:v>
                </c:pt>
                <c:pt idx="14">
                  <c:v>64.43672415967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Jihomoravský kraj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71.175033575501004</c:v>
                </c:pt>
                <c:pt idx="1">
                  <c:v>78.259805315804996</c:v>
                </c:pt>
                <c:pt idx="2">
                  <c:v>84.220209431731007</c:v>
                </c:pt>
                <c:pt idx="3">
                  <c:v>53.130580693456999</c:v>
                </c:pt>
                <c:pt idx="4">
                  <c:v>58.728699343358997</c:v>
                </c:pt>
                <c:pt idx="5">
                  <c:v>50.172212730181002</c:v>
                </c:pt>
                <c:pt idx="6">
                  <c:v>67.074335009375005</c:v>
                </c:pt>
                <c:pt idx="7">
                  <c:v>52.598741311840001</c:v>
                </c:pt>
                <c:pt idx="8">
                  <c:v>59.938842728337001</c:v>
                </c:pt>
                <c:pt idx="9">
                  <c:v>42.841623697537997</c:v>
                </c:pt>
                <c:pt idx="10">
                  <c:v>42.346299741701003</c:v>
                </c:pt>
                <c:pt idx="11">
                  <c:v>39.548073379652003</c:v>
                </c:pt>
                <c:pt idx="12">
                  <c:v>29.777968025905999</c:v>
                </c:pt>
                <c:pt idx="13">
                  <c:v>16.884439627235</c:v>
                </c:pt>
                <c:pt idx="14">
                  <c:v>17.72862252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9.5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Jihomoravský kraj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2.503818636959998</c:v>
                </c:pt>
                <c:pt idx="1">
                  <c:v>41.887957470793999</c:v>
                </c:pt>
                <c:pt idx="2">
                  <c:v>39.002347910266003</c:v>
                </c:pt>
                <c:pt idx="3">
                  <c:v>37.270705859589</c:v>
                </c:pt>
                <c:pt idx="4">
                  <c:v>36.224397173325002</c:v>
                </c:pt>
                <c:pt idx="5">
                  <c:v>31.866135112412</c:v>
                </c:pt>
                <c:pt idx="6">
                  <c:v>31.089199073688</c:v>
                </c:pt>
                <c:pt idx="7">
                  <c:v>29.079282809999999</c:v>
                </c:pt>
                <c:pt idx="8">
                  <c:v>27.119869824624001</c:v>
                </c:pt>
                <c:pt idx="9">
                  <c:v>23.142127086616</c:v>
                </c:pt>
                <c:pt idx="10">
                  <c:v>22.389175370189999</c:v>
                </c:pt>
                <c:pt idx="11">
                  <c:v>21.197168118259999</c:v>
                </c:pt>
                <c:pt idx="12">
                  <c:v>15.565756013542</c:v>
                </c:pt>
                <c:pt idx="13">
                  <c:v>11.437846199094</c:v>
                </c:pt>
                <c:pt idx="14">
                  <c:v>11.250856599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902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714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927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3955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19511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8580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74314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737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676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85855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1065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9077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192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15232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7467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Relationship Id="rId6" Type="http://schemas.openxmlformats.org/officeDocument/2006/relationships/image" Target="NULL"/><Relationship Id="rId5" Type="http://schemas.openxmlformats.org/officeDocument/2006/relationships/image" Target="../media/image8.png"/><Relationship Id="rId4" Type="http://schemas.openxmlformats.org/officeDocument/2006/relationships/image" Target="NUL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NUL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NULL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NULL"/><Relationship Id="rId4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NULL"/><Relationship Id="rId4" Type="http://schemas.openxmlformats.org/officeDocument/2006/relationships/image" Target="../media/image10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NULL"/><Relationship Id="rId5" Type="http://schemas.openxmlformats.org/officeDocument/2006/relationships/image" Target="../media/image8.png"/><Relationship Id="rId4" Type="http://schemas.openxmlformats.org/officeDocument/2006/relationships/image" Target="NUL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9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0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060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6962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796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1854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6702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8042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45090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85979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30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78014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38602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98154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2640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3967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0890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33004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362317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3726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667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NUL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9.xml"/><Relationship Id="rId15" Type="http://schemas.openxmlformats.org/officeDocument/2006/relationships/image" Target="NUL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01468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319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85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chart" Target="../charts/chart5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chart" Target="../charts/chart4.xml"/><Relationship Id="rId2" Type="http://schemas.openxmlformats.org/officeDocument/2006/relationships/tags" Target="../tags/tag52.xml"/><Relationship Id="rId16" Type="http://schemas.openxmlformats.org/officeDocument/2006/relationships/chart" Target="../charts/chart3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slideLayout" Target="../slideLayouts/slideLayout21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6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slideLayout" Target="../slideLayouts/slideLayout30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chart" Target="../charts/chart8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2" Type="http://schemas.openxmlformats.org/officeDocument/2006/relationships/tags" Target="../tags/tag82.xml"/><Relationship Id="rId16" Type="http://schemas.openxmlformats.org/officeDocument/2006/relationships/chart" Target="../charts/chart10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chart" Target="../charts/chart9.xml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2" Type="http://schemas.openxmlformats.org/officeDocument/2006/relationships/tags" Target="../tags/tag95.xml"/><Relationship Id="rId16" Type="http://schemas.openxmlformats.org/officeDocument/2006/relationships/chart" Target="../charts/chart12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chart" Target="../charts/chart11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chart" Target="../charts/chart15.xml"/><Relationship Id="rId5" Type="http://schemas.openxmlformats.org/officeDocument/2006/relationships/tags" Target="../tags/tag111.xml"/><Relationship Id="rId10" Type="http://schemas.openxmlformats.org/officeDocument/2006/relationships/chart" Target="../charts/chart14.xml"/><Relationship Id="rId4" Type="http://schemas.openxmlformats.org/officeDocument/2006/relationships/tags" Target="../tags/tag110.xml"/><Relationship Id="rId9" Type="http://schemas.openxmlformats.org/officeDocument/2006/relationships/chart" Target="../charts/char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24.png"/><Relationship Id="rId5" Type="http://schemas.openxmlformats.org/officeDocument/2006/relationships/tags" Target="../tags/tag118.xml"/><Relationship Id="rId10" Type="http://schemas.openxmlformats.org/officeDocument/2006/relationships/slideLayout" Target="../slideLayouts/slideLayout30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chart" Target="../charts/chart17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2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chart" Target="../charts/chart18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chart" Target="../charts/chart1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4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42.xml"/><Relationship Id="rId4" Type="http://schemas.openxmlformats.org/officeDocument/2006/relationships/chart" Target="../charts/char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slideLayout" Target="../slideLayouts/slideLayout59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5" Type="http://schemas.openxmlformats.org/officeDocument/2006/relationships/tags" Target="../tags/tag149.xml"/><Relationship Id="rId10" Type="http://schemas.openxmlformats.org/officeDocument/2006/relationships/tags" Target="../tags/tag154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notesSlide" Target="../notesSlides/notesSlide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5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chart" Target="../charts/chart22.xml"/><Relationship Id="rId5" Type="http://schemas.openxmlformats.org/officeDocument/2006/relationships/tags" Target="../tags/tag162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4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notesSlide" Target="../notesSlides/notesSlide13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slideLayout" Target="../slideLayouts/slideLayout35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4" Type="http://schemas.openxmlformats.org/officeDocument/2006/relationships/tags" Target="../tags/tag181.xml"/><Relationship Id="rId9" Type="http://schemas.openxmlformats.org/officeDocument/2006/relationships/chart" Target="../charts/chart2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chart" Target="../charts/chart25.xml"/><Relationship Id="rId5" Type="http://schemas.openxmlformats.org/officeDocument/2006/relationships/tags" Target="../tags/tag189.xml"/><Relationship Id="rId10" Type="http://schemas.openxmlformats.org/officeDocument/2006/relationships/chart" Target="../charts/chart24.xml"/><Relationship Id="rId4" Type="http://schemas.openxmlformats.org/officeDocument/2006/relationships/tags" Target="../tags/tag188.xml"/><Relationship Id="rId9" Type="http://schemas.openxmlformats.org/officeDocument/2006/relationships/notesSlide" Target="../notesSlides/notesSlide14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18" Type="http://schemas.openxmlformats.org/officeDocument/2006/relationships/tags" Target="../tags/tag209.xml"/><Relationship Id="rId26" Type="http://schemas.openxmlformats.org/officeDocument/2006/relationships/chart" Target="../charts/chart27.xml"/><Relationship Id="rId3" Type="http://schemas.openxmlformats.org/officeDocument/2006/relationships/tags" Target="../tags/tag194.xml"/><Relationship Id="rId21" Type="http://schemas.openxmlformats.org/officeDocument/2006/relationships/tags" Target="../tags/tag212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tags" Target="../tags/tag208.xml"/><Relationship Id="rId25" Type="http://schemas.openxmlformats.org/officeDocument/2006/relationships/chart" Target="../charts/chart26.xml"/><Relationship Id="rId2" Type="http://schemas.openxmlformats.org/officeDocument/2006/relationships/tags" Target="../tags/tag193.xml"/><Relationship Id="rId16" Type="http://schemas.openxmlformats.org/officeDocument/2006/relationships/tags" Target="../tags/tag207.xml"/><Relationship Id="rId20" Type="http://schemas.openxmlformats.org/officeDocument/2006/relationships/tags" Target="../tags/tag211.xml"/><Relationship Id="rId29" Type="http://schemas.openxmlformats.org/officeDocument/2006/relationships/chart" Target="../charts/chart30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24" Type="http://schemas.openxmlformats.org/officeDocument/2006/relationships/notesSlide" Target="../notesSlides/notesSlide15.xml"/><Relationship Id="rId5" Type="http://schemas.openxmlformats.org/officeDocument/2006/relationships/tags" Target="../tags/tag196.xml"/><Relationship Id="rId15" Type="http://schemas.openxmlformats.org/officeDocument/2006/relationships/tags" Target="../tags/tag206.xml"/><Relationship Id="rId23" Type="http://schemas.openxmlformats.org/officeDocument/2006/relationships/slideLayout" Target="../slideLayouts/slideLayout35.xml"/><Relationship Id="rId28" Type="http://schemas.openxmlformats.org/officeDocument/2006/relationships/chart" Target="../charts/chart29.xml"/><Relationship Id="rId10" Type="http://schemas.openxmlformats.org/officeDocument/2006/relationships/tags" Target="../tags/tag201.xml"/><Relationship Id="rId19" Type="http://schemas.openxmlformats.org/officeDocument/2006/relationships/tags" Target="../tags/tag210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Relationship Id="rId22" Type="http://schemas.openxmlformats.org/officeDocument/2006/relationships/tags" Target="../tags/tag213.xml"/><Relationship Id="rId27" Type="http://schemas.openxmlformats.org/officeDocument/2006/relationships/chart" Target="../charts/chart28.xml"/><Relationship Id="rId30" Type="http://schemas.openxmlformats.org/officeDocument/2006/relationships/chart" Target="../charts/chart3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2" Type="http://schemas.openxmlformats.org/officeDocument/2006/relationships/tags" Target="../tags/tag215.xml"/><Relationship Id="rId16" Type="http://schemas.openxmlformats.org/officeDocument/2006/relationships/chart" Target="../charts/chart33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5" Type="http://schemas.openxmlformats.org/officeDocument/2006/relationships/tags" Target="../tags/tag218.xml"/><Relationship Id="rId15" Type="http://schemas.openxmlformats.org/officeDocument/2006/relationships/chart" Target="../charts/chart32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18" Type="http://schemas.openxmlformats.org/officeDocument/2006/relationships/chart" Target="../charts/chart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17" Type="http://schemas.openxmlformats.org/officeDocument/2006/relationships/slideLayout" Target="../slideLayouts/slideLayout30.xml"/><Relationship Id="rId2" Type="http://schemas.openxmlformats.org/officeDocument/2006/relationships/tags" Target="../tags/tag228.xml"/><Relationship Id="rId16" Type="http://schemas.openxmlformats.org/officeDocument/2006/relationships/tags" Target="../tags/tag242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5" Type="http://schemas.openxmlformats.org/officeDocument/2006/relationships/tags" Target="../tags/tag231.xml"/><Relationship Id="rId15" Type="http://schemas.openxmlformats.org/officeDocument/2006/relationships/tags" Target="../tags/tag241.xml"/><Relationship Id="rId10" Type="http://schemas.openxmlformats.org/officeDocument/2006/relationships/tags" Target="../tags/tag236.xml"/><Relationship Id="rId19" Type="http://schemas.openxmlformats.org/officeDocument/2006/relationships/chart" Target="../charts/chart35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tags" Target="../tags/tag24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17.png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16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image" Target="../media/image15.png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image" Target="../media/image14.png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slideLayout" Target="../slideLayouts/slideLayout41.xml"/><Relationship Id="rId27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slideLayout" Target="../slideLayouts/slideLayout41.xml"/><Relationship Id="rId3" Type="http://schemas.openxmlformats.org/officeDocument/2006/relationships/tags" Target="../tags/tag35.xml"/><Relationship Id="rId21" Type="http://schemas.openxmlformats.org/officeDocument/2006/relationships/image" Target="../media/image21.png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image" Target="../media/image20.png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19" Type="http://schemas.openxmlformats.org/officeDocument/2006/relationships/image" Target="../media/image19.png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21. </a:t>
            </a:r>
            <a:r>
              <a:rPr lang="cs-CZ" sz="4800" b="1" dirty="0"/>
              <a:t>5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265" y="705344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864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961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124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39785" y="626644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28849" y="638525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58445" y="3890933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Jiho</a:t>
            </a:r>
            <a:r>
              <a:rPr lang="cs-CZ" b="1" dirty="0"/>
              <a:t>český kraj</a:t>
            </a:r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97404633"/>
              </p:ext>
            </p:extLst>
          </p:nvPr>
        </p:nvGraphicFramePr>
        <p:xfrm>
          <a:off x="943142" y="107655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3268" y="671119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965357" y="4605321"/>
            <a:ext cx="4652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 zátěž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sledních více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atížených regionů</a:t>
            </a:r>
          </a:p>
        </p:txBody>
      </p:sp>
      <p:graphicFrame>
        <p:nvGraphicFramePr>
          <p:cNvPr id="15" name="Graf 29">
            <a:extLst>
              <a:ext uri="{FF2B5EF4-FFF2-40B4-BE49-F238E27FC236}">
                <a16:creationId xmlns:a16="http://schemas.microsoft.com/office/drawing/2014/main" id="{E5062746-9CDA-4901-A3CE-FD35F7E7FD48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82443796"/>
              </p:ext>
            </p:extLst>
          </p:nvPr>
        </p:nvGraphicFramePr>
        <p:xfrm>
          <a:off x="943142" y="4000274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0" name="TextBox 13">
            <a:extLst>
              <a:ext uri="{FF2B5EF4-FFF2-40B4-BE49-F238E27FC236}">
                <a16:creationId xmlns:a16="http://schemas.microsoft.com/office/drawing/2014/main" id="{924AD9AF-340F-4D5B-8B1E-93FDCBB1E34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819468" y="967214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Moravskoslezsk</a:t>
            </a:r>
            <a:r>
              <a:rPr lang="cs-CZ" b="1" dirty="0"/>
              <a:t>ý kraj</a:t>
            </a:r>
          </a:p>
        </p:txBody>
      </p:sp>
      <p:graphicFrame>
        <p:nvGraphicFramePr>
          <p:cNvPr id="21" name="Graf 29">
            <a:extLst>
              <a:ext uri="{FF2B5EF4-FFF2-40B4-BE49-F238E27FC236}">
                <a16:creationId xmlns:a16="http://schemas.microsoft.com/office/drawing/2014/main" id="{819F9EFF-E761-483D-BFC5-F8F7E25F3E42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84136927"/>
              </p:ext>
            </p:extLst>
          </p:nvPr>
        </p:nvGraphicFramePr>
        <p:xfrm>
          <a:off x="6304165" y="107655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18642377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406" y="3801339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19.5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387152" y="2620417"/>
            <a:ext cx="46527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klesá a v důsledku toho se zmenšují rozdíly mezi regiony. </a:t>
            </a:r>
          </a:p>
        </p:txBody>
      </p:sp>
    </p:spTree>
    <p:extLst>
      <p:ext uri="{BB962C8B-B14F-4D97-AF65-F5344CB8AC3E}">
        <p14:creationId xmlns:p14="http://schemas.microsoft.com/office/powerpoint/2010/main" val="4318161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4491874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22872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rně zvýšené hodnoty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kazuje kraj Olomouc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5.2021</a:t>
            </a:r>
          </a:p>
        </p:txBody>
      </p:sp>
    </p:spTree>
    <p:extLst>
      <p:ext uri="{BB962C8B-B14F-4D97-AF65-F5344CB8AC3E}">
        <p14:creationId xmlns:p14="http://schemas.microsoft.com/office/powerpoint/2010/main" val="1329426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820754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790035" y="2011604"/>
            <a:ext cx="300366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klesají případů se symptomy klesají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as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rně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šené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ykazují kraje Moravskoslezský a Zlínský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B59230-C165-486D-A385-2EAB33330E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E31F8C-55B9-4292-AE66-EBBFB2B5CD2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6D7AD1-6F24-4B52-9A1E-791A45D97E4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AEB568-22E2-4881-995E-D44AFD890D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4997D1-7CC0-4D87-AAE2-896892CF970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5CEE02-F8D1-4562-8C35-5D4200C2D72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7C6EAE-468F-42A2-982E-37EE3DE0C36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6A51B4-ACA0-4DC0-8EE8-850A18AF813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5.2021</a:t>
            </a: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</p:spTree>
    <p:extLst>
      <p:ext uri="{BB962C8B-B14F-4D97-AF65-F5344CB8AC3E}">
        <p14:creationId xmlns:p14="http://schemas.microsoft.com/office/powerpoint/2010/main" val="25079554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19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29428" y="1819469"/>
            <a:ext cx="333996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zátěž nejvíce zatížených okresů (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př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Vsetín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ě největší počet potvrzených záchytů nákazy na 100tis. obyv. registrují okresy Opava a Č. Lípa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7FA685-9353-4F95-B0C5-0C18E29656A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D018B8-FCC2-498E-A88B-199C64FD78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481791-F247-4C6E-A003-B594E343508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9B0EEE-186D-481F-9658-9AC616DD7D1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FA27BD-12AA-44F0-B6EB-55760584F15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DA5799D-2751-41DA-8611-70EFB8F39A1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A25F0C-78E5-45F8-A19E-8E09DA9246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7AA2FF9-D78F-4ADC-BD24-BEA4E8BCF08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5.2021</a:t>
            </a:r>
          </a:p>
        </p:txBody>
      </p:sp>
    </p:spTree>
    <p:extLst>
      <p:ext uri="{BB962C8B-B14F-4D97-AF65-F5344CB8AC3E}">
        <p14:creationId xmlns:p14="http://schemas.microsoft.com/office/powerpoint/2010/main" val="32915722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20 okresů s nejvyššími hodnotami R k </a:t>
            </a:r>
            <a:r>
              <a:rPr lang="cs-CZ" sz="2000" dirty="0"/>
              <a:t>19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 a jejich celková populační zátěž 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1619" y="945486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8FC797-0E96-4C3E-B963-3453AA9DA653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6">
            <a:extLst>
              <a:ext uri="{FF2B5EF4-FFF2-40B4-BE49-F238E27FC236}">
                <a16:creationId xmlns:a16="http://schemas.microsoft.com/office/drawing/2014/main" id="{EC921A74-54AF-4962-AD3E-D7ADB3CF99F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17936" y="938290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BE1024E-8C1A-45B3-BC41-BA091ED1B9DF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6049A26A-3141-437F-BFC4-FCA8B37473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1736931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72A10D57-2E09-4D18-B593-F20D122E782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6" y="747514"/>
            <a:ext cx="7695442" cy="5042446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 s vysokými 7denními novými počty pozitivních a 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, a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pa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.95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/>
          </p:nvPr>
        </p:nvGraphicFramePr>
        <p:xfrm>
          <a:off x="9817639" y="804901"/>
          <a:ext cx="2261098" cy="5964555"/>
        </p:xfrm>
        <a:graphic>
          <a:graphicData uri="http://schemas.openxmlformats.org/drawingml/2006/table">
            <a:tbl>
              <a:tblPr/>
              <a:tblGrid>
                <a:gridCol w="2261098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ojm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oměříž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stěj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er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řecla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526277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88980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674285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ách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580185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heb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951270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548315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381135"/>
                  </a:ext>
                </a:extLst>
              </a:tr>
              <a:tr h="18795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ychnov nad Kněžn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451223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/>
        </p:nvSpPr>
        <p:spPr>
          <a:xfrm>
            <a:off x="5547949" y="869295"/>
            <a:ext cx="41737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okresy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červeně) vykazuje vysoký standardizovaný záchyt počtu nemocných a přitom potenciálně růstovou dynamiku šíření (R blízké 1 nebo nad 1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 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6626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lang="cs-CZ" sz="3200" b="1" u="sng" dirty="0">
                <a:solidFill>
                  <a:srgbClr val="0000FF"/>
                </a:solidFill>
                <a:latin typeface="Calibri" panose="020F0502020204030204"/>
              </a:rPr>
              <a:t>1 </a:t>
            </a: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0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tále klesá relativní pozitivita indikovaných testů. Významný je i pokles nově nakažených potenciálně zranitelných skupin obyvatel. Reprodukční číslo osciluje mezi 0,70 –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80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16003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po 3.5</a:t>
            </a:r>
            <a:r>
              <a:rPr lang="cs-CZ" sz="3200" b="1" dirty="0" smtClean="0">
                <a:solidFill>
                  <a:srgbClr val="0000FF"/>
                </a:solidFill>
              </a:rPr>
              <a:t>. či 10.5. se </a:t>
            </a:r>
            <a:r>
              <a:rPr lang="cs-CZ" sz="3200" b="1" dirty="0">
                <a:solidFill>
                  <a:srgbClr val="0000FF"/>
                </a:solidFill>
              </a:rPr>
              <a:t>na vývoji epidemie neprojevilo, situace začíná být stabilní. Pokud i další kroky budou pozvolné a uvážené, lze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i v důsledku postupující vakcinace očekávat, že 7denní počet nově potvrzených případů bude dále významně </a:t>
            </a:r>
            <a:r>
              <a:rPr lang="cs-CZ" sz="3200" b="1" dirty="0" smtClean="0">
                <a:solidFill>
                  <a:srgbClr val="0000FF"/>
                </a:solidFill>
              </a:rPr>
              <a:t>klesat. </a:t>
            </a:r>
            <a:endParaRPr lang="cs-CZ" sz="3200" b="1" dirty="0">
              <a:solidFill>
                <a:srgbClr val="0000FF"/>
              </a:solidFill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572047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092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2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0,8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modelu z 5.3. 2021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117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3718862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Dle stávajícího trendu dojde k dalšímu zásadnímu poklesu virové zátěže popula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o 22.5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11700943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32777" y="210275"/>
            <a:ext cx="1188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dravotních dopadů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42712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8" y="1999582"/>
            <a:ext cx="1122158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ě optimistické scénáře se v čase naplnily a epidemie začala na populační úrovni významně zpomalovat již v 1. polovině března. Pozitivní dopad na zátěž nemocnic avšak nastal až po 15. březn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z 5.3. jsou nadále funkční a predikce rychlého poklesu zátěže se shodují s realito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byly nově doplněny o předpokládaný efek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 </a:t>
            </a:r>
            <a:r>
              <a:rPr kumimoji="0" lang="cs-CZ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119203" y="614068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916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et nově diagnostikovaných potenciálně zranitelných pacientů </a:t>
            </a:r>
          </a:p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s COVID-19 významně klesá. Jde o efekt postupující vakcinace. </a:t>
            </a:r>
          </a:p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Tento trend se pozitivně promítá do klesající zátěže nemocnic.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130061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53063" y="22149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12" name="Tabulka 3">
            <a:extLst>
              <a:ext uri="{FF2B5EF4-FFF2-40B4-BE49-F238E27FC236}">
                <a16:creationId xmlns:a16="http://schemas.microsoft.com/office/drawing/2014/main" id="{D77B347B-2E0E-4DBF-9C41-815C48DA8D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295708"/>
              </p:ext>
            </p:extLst>
          </p:nvPr>
        </p:nvGraphicFramePr>
        <p:xfrm>
          <a:off x="4575202" y="171549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687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5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901075">
            <a:off x="11016311" y="5329347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8321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B0C5FE14-2724-4F2D-92FE-0C13CEADB33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03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FEA586B7-FDE4-4324-A300-10B67B5B75B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98707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/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7221E64D-6660-4C78-A654-AA9737E747C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4.–21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4.–28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4.–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5.–1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5.–1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319815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/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928EED81-9D6F-451E-92C5-FE508498AF7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4.–21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4.–28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4.–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5.–1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5.–1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.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7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57434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</a:t>
            </a:r>
            <a:r>
              <a:rPr lang="cs-CZ" sz="4800" b="1" dirty="0" smtClean="0"/>
              <a:t>pozitivita</a:t>
            </a:r>
            <a:endParaRPr lang="cs-CZ" sz="4800" b="1" dirty="0"/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598173" y="967356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diagnostické a klinické indikace 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= průkazný indikátor zpomalování 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0862845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80D957C-ECC1-4519-973A-BD4B5AB50C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7726044"/>
              </p:ext>
            </p:extLst>
          </p:nvPr>
        </p:nvGraphicFramePr>
        <p:xfrm>
          <a:off x="1439758" y="57600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56445" y="270091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9850166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Table 11">
            <a:extLst>
              <a:ext uri="{FF2B5EF4-FFF2-40B4-BE49-F238E27FC236}">
                <a16:creationId xmlns:a16="http://schemas.microsoft.com/office/drawing/2014/main" id="{DDD1397F-5710-403B-B2B3-138C48C975F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414690521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18462635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2272593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5033949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692768855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9319313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8440740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53233577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92598677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861251635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25895678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95477755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76197220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0814112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02743280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0583808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4.–22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4.–2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4.–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5.–1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5.–2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644474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5873645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1769192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48305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33108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3144289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.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4138470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9669" y="5315558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3717F79-4E41-490B-A7CB-9CB09F1489F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48457" y="3250928"/>
            <a:ext cx="475315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2200" b="1" dirty="0">
                <a:solidFill>
                  <a:srgbClr val="0000FF"/>
                </a:solidFill>
              </a:rPr>
              <a:t>Poklesy nadále trvají, denní průměr počtu nových případů klesá týdně o</a:t>
            </a:r>
          </a:p>
          <a:p>
            <a:pPr algn="r"/>
            <a:r>
              <a:rPr lang="cs-CZ" sz="2200" b="1" dirty="0">
                <a:solidFill>
                  <a:srgbClr val="0000FF"/>
                </a:solidFill>
              </a:rPr>
              <a:t>v</a:t>
            </a:r>
            <a:r>
              <a:rPr lang="cs-CZ" sz="2200" b="1" dirty="0" smtClean="0">
                <a:solidFill>
                  <a:srgbClr val="0000FF"/>
                </a:solidFill>
              </a:rPr>
              <a:t>íce než 400 případů</a:t>
            </a:r>
            <a:r>
              <a:rPr lang="cs-CZ" sz="2200" b="1" dirty="0">
                <a:solidFill>
                  <a:srgbClr val="0000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52023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epidemiologické indikace 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= průkazný indikátor zpomalování 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382596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A07EE0BF-A216-42B3-825A-20594C0F6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096786"/>
              </p:ext>
            </p:extLst>
          </p:nvPr>
        </p:nvGraphicFramePr>
        <p:xfrm>
          <a:off x="1448724" y="57600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56446" y="270312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752488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DE981F7C-C8E9-414D-91EE-E07E0FE30D2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72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560 (83.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89 (43.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271 (40.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12 (16.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66 (9.8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6 (6.8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A9528EE9-151F-42D1-8DA2-E3D80E835D8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.2021–16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7 626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6 266 (82.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3 215 (42.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3 051 (40.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 360 (17.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643 (8.4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717 (9.4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77547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y u dětí obecně</a:t>
            </a:r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978173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Kumulativní počet provedených testů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1988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0.5.2021 18:00 -&gt; celkový přehled bez dělení dle věkových skupin žáků</a:t>
            </a:r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Žáci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857220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14300" y="412883"/>
            <a:ext cx="11820525" cy="6548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šechny pozitivně potvrzené případy jsou šetřeny epidemiology na KHS. Tato šetření umožňují odlišit děti pravděpodobně nakažené v souvislosti se školní docházkou. U dětí ve věku 5 – 11 let, které jsou ve škole nejdéle, prokázalo epidemické šetření KHS 28% z celkem zachycených nákaz jako souvisejících se školou. Dále tento podíl nákaz souvisejících se školou klesá k 17% (věková kategorie 12 – 15 let) a k 3% (věková kategorie 12 – 19 let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a založená pouze na AG testech přispívá u dětí k cca 2 - 5% celkových pozitivních záchytů. V testovaných věkových kategoriích dětí je očekávatelně zaznamenán významně nižší podíl symptomatických pacientů než v celkové populaci, cca 30%.  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41176" y="32877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41176" y="593836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484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, které nejsou v datech testování ve školách k dispozici)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956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865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264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4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3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0.5.2021 18:00</a:t>
            </a:r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</a:t>
            </a: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9 547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u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provedené přímo ve školách potvrdi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865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šech záznamů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281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7082959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392507" y="141162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026069" y="2019626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54407" y="16196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52108" y="2085115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765968" y="263676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6519273" y="222349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37649" y="70129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 </a:t>
            </a: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mladistvých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903700" y="2763492"/>
            <a:ext cx="1867829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2. 4. zahájení návratu dětí do škol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8962200" y="3477531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 flipV="1">
            <a:off x="1866087" y="5331125"/>
            <a:ext cx="8269949" cy="8627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5339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-19.5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0.5.2021 18:00</a:t>
            </a:r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záchytů na 100 tisíc testů nahlášených ze škol bez dělení na věkové kategor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souhrn za celé sledované období od 12.4.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46991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EE62621-70BE-4BF7-A207-E3B00145BC5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233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 418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48356B39-AB27-4FA4-84A5-7B7D6DF891D7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601604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716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B8527535-D1F7-4EE3-BCED-D5C17A6D2401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24013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 836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2E756E54-0694-4934-A8D4-32B155D10CA8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485887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 829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8CACF9A3-26CA-4A1D-A0D1-9F734F82196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485888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4 364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87E722ED-920F-4B69-AB4C-D820C8F62DF4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943725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1 442</a:t>
            </a:r>
          </a:p>
        </p:txBody>
      </p:sp>
    </p:spTree>
    <p:extLst>
      <p:ext uri="{BB962C8B-B14F-4D97-AF65-F5344CB8AC3E}">
        <p14:creationId xmlns:p14="http://schemas.microsoft.com/office/powerpoint/2010/main" val="28833332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022080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9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-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9748" y="2173412"/>
            <a:ext cx="327077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5 – 11 let mezi 13.4. a 19.5., a rovněž mezi 1.5. a 19.5., ve všech krajích klesaj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na 100tis. dětí v této věkové kategorii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struje kraj Moravskoslezský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504670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154771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významněj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4038015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9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-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4725A0A-299D-4402-8473-3C63C6E510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29748" y="1893233"/>
            <a:ext cx="342759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12 – 19 let mezi 13.4. a 19.5., a rovněž mezi 1.5. a 19.5., ve 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na 100tis. dětí v této věkové kategorii registrují kraje Moravskoslezský a Vysočin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14403099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47" y="2069359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6000" b="1" dirty="0">
                <a:latin typeface="+mn-lt"/>
              </a:rPr>
              <a:t>DĚKUJI ZA POZORNOST</a:t>
            </a:r>
            <a:endParaRPr lang="en-CZ" sz="6000" b="1" dirty="0"/>
          </a:p>
        </p:txBody>
      </p:sp>
    </p:spTree>
    <p:extLst>
      <p:ext uri="{BB962C8B-B14F-4D97-AF65-F5344CB8AC3E}">
        <p14:creationId xmlns:p14="http://schemas.microsoft.com/office/powerpoint/2010/main" val="517158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972805"/>
            <a:ext cx="119103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iony klesly pod hranici týdenních záchy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/100 tis. obyvatel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tailnějším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álování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atrné, že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ovina krajů je již trva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hranicí kumulativních týdenních záchytů 50/100 tis. obyv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29980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2" y="576988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09867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 –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30047" y="291867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069803" y="2854784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&lt;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242FD362-1BE1-449A-90F2-F2D73360B4D2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25421" y="1269000"/>
            <a:ext cx="3408594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A098708D-3CF6-46C6-892B-DBE5B934C984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138"/>
          <a:stretch/>
        </p:blipFill>
        <p:spPr>
          <a:xfrm>
            <a:off x="3493771" y="1277226"/>
            <a:ext cx="3411439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A41A144F-BB34-4D14-A657-83516FD1140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r="10138"/>
          <a:stretch/>
        </p:blipFill>
        <p:spPr>
          <a:xfrm>
            <a:off x="7042943" y="1277226"/>
            <a:ext cx="3394368" cy="2160000"/>
          </a:xfrm>
          <a:prstGeom prst="rect">
            <a:avLst/>
          </a:prstGeom>
        </p:spPr>
      </p:pic>
      <p:pic>
        <p:nvPicPr>
          <p:cNvPr id="40" name="Picture 39" descr="Map&#10;&#10;Description automatically generated">
            <a:extLst>
              <a:ext uri="{FF2B5EF4-FFF2-40B4-BE49-F238E27FC236}">
                <a16:creationId xmlns:a16="http://schemas.microsoft.com/office/drawing/2014/main" id="{58C29F3E-6DC8-41AC-9E38-6D4C7B82EE2B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170333" y="4330643"/>
            <a:ext cx="3408594" cy="2160000"/>
          </a:xfrm>
          <a:prstGeom prst="rect">
            <a:avLst/>
          </a:prstGeom>
        </p:spPr>
      </p:pic>
      <p:sp>
        <p:nvSpPr>
          <p:cNvPr id="29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075349" y="382136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9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E213277F-41C0-418E-AACA-21A19B2FAF8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0" r="9695"/>
          <a:stretch/>
        </p:blipFill>
        <p:spPr>
          <a:xfrm>
            <a:off x="3726318" y="4343832"/>
            <a:ext cx="3430977" cy="2160000"/>
          </a:xfrm>
          <a:prstGeom prst="rect">
            <a:avLst/>
          </a:prstGeom>
        </p:spPr>
      </p:pic>
      <p:sp>
        <p:nvSpPr>
          <p:cNvPr id="32" name="TextovéPole 31"/>
          <p:cNvSpPr txBox="1"/>
          <p:nvPr/>
        </p:nvSpPr>
        <p:spPr>
          <a:xfrm>
            <a:off x="7297253" y="4101359"/>
            <a:ext cx="35061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% </a:t>
            </a:r>
            <a:r>
              <a:rPr lang="cs-CZ" sz="2000" b="1" dirty="0">
                <a:solidFill>
                  <a:prstClr val="black"/>
                </a:solidFill>
              </a:rPr>
              <a:t>až – </a:t>
            </a:r>
            <a:r>
              <a:rPr lang="cs-CZ" sz="2000" b="1" dirty="0" smtClean="0">
                <a:solidFill>
                  <a:prstClr val="black"/>
                </a:solidFill>
              </a:rPr>
              <a:t>30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272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34280" y="313954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344827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375700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406572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437445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4037" y="3044883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74037" y="335617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7" y="366746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7" y="397875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7" y="429004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468317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499190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7" y="46013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7" y="4912625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334280" y="2864883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2800995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BD8D815-6F2A-4437-A699-CF36143DAC9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9" r="10555"/>
          <a:stretch/>
        </p:blipFill>
        <p:spPr>
          <a:xfrm>
            <a:off x="290378" y="1190760"/>
            <a:ext cx="3993112" cy="2558663"/>
          </a:xfrm>
          <a:prstGeom prst="rect">
            <a:avLst/>
          </a:prstGeom>
        </p:spPr>
      </p:pic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97755" y="79065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F41D84E5-0770-425B-8B76-08CC308AA8AB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022177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F6BC7228-087B-4A2D-8F2B-30A8A3B2E806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176" y="1201001"/>
            <a:ext cx="3900797" cy="2556000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CABE1324-0AE2-4CB4-A4FF-B1AB0E1BB134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58977" y="383882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5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289A96C8-10ED-455C-BBC6-B1E62624DC86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55" y="4148030"/>
            <a:ext cx="4135774" cy="2709970"/>
          </a:xfrm>
          <a:prstGeom prst="rect">
            <a:avLst/>
          </a:prstGeom>
        </p:spPr>
      </p:pic>
      <p:sp>
        <p:nvSpPr>
          <p:cNvPr id="25" name="TextovéPole 24"/>
          <p:cNvSpPr txBox="1"/>
          <p:nvPr/>
        </p:nvSpPr>
        <p:spPr>
          <a:xfrm>
            <a:off x="5378806" y="4554453"/>
            <a:ext cx="38817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% </a:t>
            </a:r>
            <a:r>
              <a:rPr lang="cs-CZ" sz="2000" b="1" dirty="0">
                <a:solidFill>
                  <a:prstClr val="black"/>
                </a:solidFill>
              </a:rPr>
              <a:t>až – </a:t>
            </a:r>
            <a:r>
              <a:rPr lang="cs-CZ" sz="2000" b="1" dirty="0" smtClean="0">
                <a:solidFill>
                  <a:prstClr val="black"/>
                </a:solidFill>
              </a:rPr>
              <a:t>30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915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18</a:t>
            </a:r>
            <a:r>
              <a:rPr lang="cs-CZ" dirty="0" smtClean="0"/>
              <a:t>.5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104563" y="1373577"/>
            <a:ext cx="498606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</a:rPr>
              <a:t>Klesající </a:t>
            </a:r>
            <a:r>
              <a:rPr lang="cs-CZ" sz="2000" b="1" dirty="0">
                <a:solidFill>
                  <a:srgbClr val="0000FF"/>
                </a:solidFill>
              </a:rPr>
              <a:t>trend je významný ve všech krajích. </a:t>
            </a:r>
            <a:endParaRPr lang="cs-CZ" sz="2000" b="1" dirty="0" smtClean="0">
              <a:solidFill>
                <a:srgbClr val="0000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380635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 počet nových případů (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4 (17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 (12.9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 (10.3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 (8.5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 (8.0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7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 (7.1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 (7.1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 (6.5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 (6.1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 (5.7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(4.3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 (2.8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 (2.8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1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72 (100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302242" y="5684288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55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727940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70</TotalTime>
  <Words>2767</Words>
  <Application>Microsoft Office PowerPoint</Application>
  <PresentationFormat>Širokoúhlá obrazovka</PresentationFormat>
  <Paragraphs>523</Paragraphs>
  <Slides>41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0</vt:i4>
      </vt:variant>
      <vt:variant>
        <vt:lpstr>Nadpisy snímků</vt:lpstr>
      </vt:variant>
      <vt:variant>
        <vt:i4>41</vt:i4>
      </vt:variant>
    </vt:vector>
  </HeadingPairs>
  <TitlesOfParts>
    <vt:vector size="56" baseType="lpstr">
      <vt:lpstr>Times New Roman</vt:lpstr>
      <vt:lpstr>Arial (Základní text)</vt:lpstr>
      <vt:lpstr>Calibri Light</vt:lpstr>
      <vt:lpstr>Arial</vt:lpstr>
      <vt:lpstr>Calibri</vt:lpstr>
      <vt:lpstr>1_Motiv Office</vt:lpstr>
      <vt:lpstr>3_Motiv Office</vt:lpstr>
      <vt:lpstr>7_Motiv Office</vt:lpstr>
      <vt:lpstr>12_Motiv Office</vt:lpstr>
      <vt:lpstr>5_Motiv Office</vt:lpstr>
      <vt:lpstr>Motiv Office</vt:lpstr>
      <vt:lpstr>6_Motiv Office</vt:lpstr>
      <vt:lpstr>2_Motiv Office</vt:lpstr>
      <vt:lpstr>4_Motiv Office</vt:lpstr>
      <vt:lpstr>8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kresech</vt:lpstr>
      <vt:lpstr>Zátěž regionů ve vzájemném srovnání krajů k 18.5.</vt:lpstr>
      <vt:lpstr>Vybrané ukazatele – srovnání regionů</vt:lpstr>
      <vt:lpstr>Vybrané ukazatele – srovnání regionů</vt:lpstr>
      <vt:lpstr>Počty COVID-19 pozitivních na 100 000 v populaci v krajích a ČR</vt:lpstr>
      <vt:lpstr>R (zjednodušený výpočet) - 7 denní úseky: srovnání krajů k 19.5.</vt:lpstr>
      <vt:lpstr>Relativní pozitivita testů s diagnostickou/epidemiologickou indikací za 7 dní</vt:lpstr>
      <vt:lpstr>Nové symptomatické případy za 7 dní na 100 000 obyvatel</vt:lpstr>
      <vt:lpstr>Nové případy za 7 dní na 100 000 obyvatel: 20 okresů s nejvyššími hodnotami k 19.5.</vt:lpstr>
      <vt:lpstr>20 okresů s nejvyššími hodnotami R k 19.5. a jejich celková populační zátěž </vt:lpstr>
      <vt:lpstr>Přehled okresů s poteniálně rizikovými epidemickými hodnotami</vt:lpstr>
      <vt:lpstr>Datová a informační základna  pro management pandemie COVID-19</vt:lpstr>
      <vt:lpstr>Prezentace aplikace PowerPoint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odíl pozitivních testů: diagnostické a klinické indikace </vt:lpstr>
      <vt:lpstr>Podíl pozitivních testů: epidemiologické indikace</vt:lpstr>
      <vt:lpstr>Typologie pozitivních případů</vt:lpstr>
      <vt:lpstr>Datová a informační základna  pro management pandemie COVID-19</vt:lpstr>
      <vt:lpstr>Kumulativní počet provedených testů ve školách </vt:lpstr>
      <vt:lpstr>Prezentace aplikace PowerPoint</vt:lpstr>
      <vt:lpstr>Testy hlášení ze škol – průběžné výsledky</vt:lpstr>
      <vt:lpstr>Počty COVID-19 pozitivních v ČR na 100 000 v populaci</vt:lpstr>
      <vt:lpstr>Testy ve školách – průběžné výsledky (dle CFA) 12.4-19.5.2021 </vt:lpstr>
      <vt:lpstr>Počty nově COVID-19 pozitivních na 100 testů u dětí v čase</vt:lpstr>
      <vt:lpstr>Nové případy za 7 dní na 100 000 obyvatel: srovnání krajů k 19.5.: 5-11 let</vt:lpstr>
      <vt:lpstr>Nové případy za 7 dní na 100 000 obyvatel: srovnání krajů k 19.5.: 12-19 let</vt:lpstr>
      <vt:lpstr> 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808</cp:revision>
  <dcterms:created xsi:type="dcterms:W3CDTF">2020-11-11T17:36:28Z</dcterms:created>
  <dcterms:modified xsi:type="dcterms:W3CDTF">2021-05-21T20:52:39Z</dcterms:modified>
</cp:coreProperties>
</file>